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256" r:id="rId2"/>
    <p:sldId id="268" r:id="rId3"/>
    <p:sldId id="267" r:id="rId4"/>
    <p:sldId id="265" r:id="rId5"/>
    <p:sldId id="264" r:id="rId6"/>
    <p:sldId id="266" r:id="rId7"/>
    <p:sldId id="263" r:id="rId8"/>
    <p:sldId id="261" r:id="rId9"/>
    <p:sldId id="260" r:id="rId10"/>
    <p:sldId id="259" r:id="rId11"/>
    <p:sldId id="258" r:id="rId12"/>
    <p:sldId id="257" r:id="rId13"/>
  </p:sldIdLst>
  <p:sldSz cx="12192000" cy="6858000"/>
  <p:notesSz cx="6858000" cy="9144000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A29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352" autoAdjust="0"/>
    <p:restoredTop sz="94660"/>
  </p:normalViewPr>
  <p:slideViewPr>
    <p:cSldViewPr snapToGrid="0">
      <p:cViewPr varScale="1">
        <p:scale>
          <a:sx n="124" d="100"/>
          <a:sy n="124" d="100"/>
        </p:scale>
        <p:origin x="396" y="10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DD37F5-048F-4840-9C6A-E88D052B6663}" type="datetimeFigureOut">
              <a:rPr lang="en-US" smtClean="0"/>
              <a:t>9/2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F04476-38E9-453C-9ABD-82D13FB6EE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93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7D3DF-1EB1-DBA6-959B-2A37C73179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D5E76A-9660-2CAD-FF69-4CB6530BA8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F8DDC4-F9F9-2486-03BF-92CC68433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8EDEA-1FAE-080C-24BC-BFE7BD63A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2AD75D-7042-CDFC-AE64-944719593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8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B13693-F1D8-6126-F6B1-0F6D5EF19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B09019-EA84-91FC-E45C-29AD47AFAD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F950CF-97E1-0D90-29F9-DA2934A9E9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6C7B11-0780-1B28-BC0A-BF77274A4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AB5220-801A-D139-86D1-1087FD07A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688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4771C7-3227-1325-DEFD-3E09D24F67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25B2D6-800F-5C45-1002-B675E287E1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93BB87-EA2D-FB7D-6522-C28585293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A3572-B504-CD87-D5AF-296D61EBC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EF0E9E-9529-12DD-A52D-5D9417404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965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1AC0F-6EAE-899D-CEE3-6535EB0F8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A8830-A31F-B007-9C20-33A58B9B7D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CF346E-0418-7061-398E-88665B1C36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ED4440-129E-7498-2074-D24B90DB5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632184-1F41-938E-CE3E-7CC6B7F7C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897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60B732-4DD7-E53E-012E-67F77A8EF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7C1F2-3648-C98B-8694-5C271B91F9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C66E19-FF1E-321C-03DD-6AD1EE92F0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807CBD-A4DB-2840-118B-BBFAFC3A4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5FAD5E-1A20-3E75-4354-2009B6991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779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84325-E73F-5FA6-6D80-28B3A465A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6649A5-F17A-481D-152D-3C6314F466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571785-ED56-F01F-3506-4B50CBF64B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E42675-F4A0-0062-C04F-C9458A25C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B6C8E-62CD-3104-F2B4-FFC45B7DD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188290-7BA7-1AF6-D5EA-5A4D624D0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761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3B08E6-47B1-F32D-496A-0248BA0BC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C3A6B-5653-EF3D-4FAE-AB90A57C13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271F09-102D-B8B0-B73F-25F618FEBE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E29F23-8605-B081-5041-014357E9157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AB3345F-A3A1-E09A-B6EE-24B722327F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DAAB50-42B9-E999-0508-F30EEBFF0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1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F7550A-A1CA-ED04-DB2B-FF214ADA4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DACA6E-72D6-4FFC-1543-DAA189E0F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251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7525F-27D8-074B-85A6-012F354B0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55A121-698F-059F-ACC7-5B481928D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1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CEF5BF-69A1-9A65-610D-321DA32771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75DBC7-F943-8B56-FBB4-37CB4A664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9788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7FFC84-8A10-B3EC-704C-4ABDA5814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1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EE885D-C4D0-3D4D-E2C0-598539724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7666E4-6EC0-33E4-095B-AB3B6F176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849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0BDF3-3E83-0B6A-9591-94F3AD8A7C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BC49D0-4337-F03A-AAA5-5274CD812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358633-BCA2-596C-74F0-D3ED11815D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F6101F-0BAF-0307-BCD8-979394089B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CF9260-B447-6062-3DAA-0D9507150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5D3821-39BC-DA23-1FAC-2FFCB3EB8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70704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3C7FF-5EB2-A4E8-ADD7-FC3BB5553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17AD84-00A4-2679-4833-B33F259B18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0484F2-69C9-F375-194F-B2AA48A787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8250AC-FE65-AEB6-E5E5-00F082706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DEE06D-136F-8FCA-A1E5-545849672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981F2-3E9A-955D-214F-DAE8779FE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706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6829E9A-97AA-1A17-4F52-D36F248EA7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6248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33A35F-C2F0-F675-87BA-831E5EE0FC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EDB8C9-7001-E909-B4A1-3577DC95BD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56CD66-EBE4-A12C-8F69-87F3140248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CA07F9-06C3-4C90-A7AE-61AB97B15816}" type="datetimeFigureOut">
              <a:rPr lang="en-US" smtClean="0"/>
              <a:t>9/2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ED67B-3126-6ABD-9FB4-C80F39B2BE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F5418C-40BD-4D1C-D96B-512ECF0165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152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653266-7D00-AD8D-B32A-B485DE81BE4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5EF485A-20AD-FF5B-0DF4-2ED4412E7C5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4399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EF47E0B4-DE6B-4494-3A72-7C3BF2D10D0F}"/>
              </a:ext>
            </a:extLst>
          </p:cNvPr>
          <p:cNvSpPr/>
          <p:nvPr/>
        </p:nvSpPr>
        <p:spPr>
          <a:xfrm>
            <a:off x="1526650" y="1463236"/>
            <a:ext cx="9477955" cy="263963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3746AAF-3CB1-A691-A030-2702A5A416D3}"/>
              </a:ext>
            </a:extLst>
          </p:cNvPr>
          <p:cNvSpPr/>
          <p:nvPr/>
        </p:nvSpPr>
        <p:spPr>
          <a:xfrm>
            <a:off x="2296953" y="1971921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0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140983C-E2C9-B9C7-740F-0F10FD074455}"/>
              </a:ext>
            </a:extLst>
          </p:cNvPr>
          <p:cNvCxnSpPr>
            <a:cxnSpLocks/>
          </p:cNvCxnSpPr>
          <p:nvPr/>
        </p:nvCxnSpPr>
        <p:spPr>
          <a:xfrm>
            <a:off x="787179" y="3562281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55E054C-8927-544B-282C-35635B5711DB}"/>
              </a:ext>
            </a:extLst>
          </p:cNvPr>
          <p:cNvCxnSpPr>
            <a:cxnSpLocks/>
          </p:cNvCxnSpPr>
          <p:nvPr/>
        </p:nvCxnSpPr>
        <p:spPr>
          <a:xfrm>
            <a:off x="3386284" y="3562281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AB97C71-D52C-A3A8-BFF1-25AB9A5F2C09}"/>
              </a:ext>
            </a:extLst>
          </p:cNvPr>
          <p:cNvSpPr txBox="1"/>
          <p:nvPr/>
        </p:nvSpPr>
        <p:spPr>
          <a:xfrm>
            <a:off x="888250" y="3598207"/>
            <a:ext cx="12904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gress Por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0742E4-C0A1-DF7C-F534-414580889B23}"/>
              </a:ext>
            </a:extLst>
          </p:cNvPr>
          <p:cNvSpPr txBox="1"/>
          <p:nvPr/>
        </p:nvSpPr>
        <p:spPr>
          <a:xfrm>
            <a:off x="10531149" y="3570329"/>
            <a:ext cx="12237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gress Po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B220551-762C-DFA4-DA97-0CC266E4CA7F}"/>
              </a:ext>
            </a:extLst>
          </p:cNvPr>
          <p:cNvSpPr/>
          <p:nvPr/>
        </p:nvSpPr>
        <p:spPr>
          <a:xfrm>
            <a:off x="4896058" y="1971921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E20A015-6B53-776E-32B6-FFF9FD1E6890}"/>
              </a:ext>
            </a:extLst>
          </p:cNvPr>
          <p:cNvCxnSpPr>
            <a:cxnSpLocks/>
          </p:cNvCxnSpPr>
          <p:nvPr/>
        </p:nvCxnSpPr>
        <p:spPr>
          <a:xfrm>
            <a:off x="5985389" y="3570329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82635BE0-E1A2-9170-543A-D96535D68FC2}"/>
              </a:ext>
            </a:extLst>
          </p:cNvPr>
          <p:cNvSpPr/>
          <p:nvPr/>
        </p:nvSpPr>
        <p:spPr>
          <a:xfrm>
            <a:off x="7394092" y="1971920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n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2FF6C0D-44CD-F53A-4EA1-0C80F8C0FBFB}"/>
              </a:ext>
            </a:extLst>
          </p:cNvPr>
          <p:cNvCxnSpPr>
            <a:cxnSpLocks/>
          </p:cNvCxnSpPr>
          <p:nvPr/>
        </p:nvCxnSpPr>
        <p:spPr>
          <a:xfrm>
            <a:off x="6962778" y="3562281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06FDE2D-FEF2-1C74-F43F-EAEB5BC7CCD3}"/>
              </a:ext>
            </a:extLst>
          </p:cNvPr>
          <p:cNvCxnSpPr>
            <a:cxnSpLocks/>
          </p:cNvCxnSpPr>
          <p:nvPr/>
        </p:nvCxnSpPr>
        <p:spPr>
          <a:xfrm>
            <a:off x="10357901" y="3555752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59F21169-46A5-2CDB-AA21-99F3C0ED2BBF}"/>
              </a:ext>
            </a:extLst>
          </p:cNvPr>
          <p:cNvSpPr/>
          <p:nvPr/>
        </p:nvSpPr>
        <p:spPr>
          <a:xfrm>
            <a:off x="9268570" y="2665471"/>
            <a:ext cx="1089331" cy="114920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xecute Action Set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B158599-ABCD-FB4A-D9E1-CA46A4D59B7A}"/>
              </a:ext>
            </a:extLst>
          </p:cNvPr>
          <p:cNvCxnSpPr>
            <a:cxnSpLocks/>
          </p:cNvCxnSpPr>
          <p:nvPr/>
        </p:nvCxnSpPr>
        <p:spPr>
          <a:xfrm>
            <a:off x="8483423" y="3555752"/>
            <a:ext cx="78514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4FEEADE4-895C-F671-5FB6-D02CBD5924A8}"/>
              </a:ext>
            </a:extLst>
          </p:cNvPr>
          <p:cNvSpPr txBox="1"/>
          <p:nvPr/>
        </p:nvSpPr>
        <p:spPr>
          <a:xfrm>
            <a:off x="766904" y="2837584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I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2F3545-4C0F-731F-0917-1B31FE514FB3}"/>
              </a:ext>
            </a:extLst>
          </p:cNvPr>
          <p:cNvSpPr txBox="1"/>
          <p:nvPr/>
        </p:nvSpPr>
        <p:spPr>
          <a:xfrm>
            <a:off x="10949253" y="2783149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Ou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7DEE9C3-6230-1C6A-3E44-61A07E63B756}"/>
              </a:ext>
            </a:extLst>
          </p:cNvPr>
          <p:cNvSpPr txBox="1"/>
          <p:nvPr/>
        </p:nvSpPr>
        <p:spPr>
          <a:xfrm>
            <a:off x="9198066" y="1550390"/>
            <a:ext cx="16634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Open vSwitch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9C41834-1838-28EF-4EAB-195D0FC7CA2F}"/>
              </a:ext>
            </a:extLst>
          </p:cNvPr>
          <p:cNvSpPr txBox="1"/>
          <p:nvPr/>
        </p:nvSpPr>
        <p:spPr>
          <a:xfrm>
            <a:off x="6272718" y="3222305"/>
            <a:ext cx="8256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/>
              <a:t>. . 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FC0F109-1300-44EF-31BA-383F6B49AD15}"/>
              </a:ext>
            </a:extLst>
          </p:cNvPr>
          <p:cNvSpPr txBox="1"/>
          <p:nvPr/>
        </p:nvSpPr>
        <p:spPr>
          <a:xfrm>
            <a:off x="3977636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EFA3716-7D0B-8B8E-67D7-F60120C5D760}"/>
              </a:ext>
            </a:extLst>
          </p:cNvPr>
          <p:cNvSpPr txBox="1"/>
          <p:nvPr/>
        </p:nvSpPr>
        <p:spPr>
          <a:xfrm>
            <a:off x="6530757" y="2894271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FFA44E6-E247-642B-874B-2B103E0E6FFD}"/>
              </a:ext>
            </a:extLst>
          </p:cNvPr>
          <p:cNvSpPr txBox="1"/>
          <p:nvPr/>
        </p:nvSpPr>
        <p:spPr>
          <a:xfrm>
            <a:off x="8442872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5F9ABFD-07A2-D8FF-4C21-815A0A5846A9}"/>
              </a:ext>
            </a:extLst>
          </p:cNvPr>
          <p:cNvSpPr txBox="1"/>
          <p:nvPr/>
        </p:nvSpPr>
        <p:spPr>
          <a:xfrm>
            <a:off x="1437792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03ED567-3C9E-C235-5A67-30AFEAD7B475}"/>
              </a:ext>
            </a:extLst>
          </p:cNvPr>
          <p:cNvSpPr txBox="1"/>
          <p:nvPr/>
        </p:nvSpPr>
        <p:spPr>
          <a:xfrm>
            <a:off x="3208875" y="1692112"/>
            <a:ext cx="173444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/>
              <a:t>Match Fields:</a:t>
            </a:r>
          </a:p>
          <a:p>
            <a:pPr algn="r"/>
            <a:r>
              <a:rPr lang="en-US" sz="1600" dirty="0"/>
              <a:t>Ingress port +</a:t>
            </a:r>
          </a:p>
          <a:p>
            <a:pPr algn="r"/>
            <a:r>
              <a:rPr lang="en-US" sz="1600" dirty="0"/>
              <a:t>Packet header +</a:t>
            </a:r>
          </a:p>
          <a:p>
            <a:pPr algn="r"/>
            <a:r>
              <a:rPr lang="en-US" sz="1600" dirty="0"/>
              <a:t>metadata</a:t>
            </a:r>
          </a:p>
        </p:txBody>
      </p:sp>
    </p:spTree>
    <p:extLst>
      <p:ext uri="{BB962C8B-B14F-4D97-AF65-F5344CB8AC3E}">
        <p14:creationId xmlns:p14="http://schemas.microsoft.com/office/powerpoint/2010/main" val="33229152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F906E03-438E-DE7C-59A4-F3E307AB45C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55" t="10843" r="531"/>
          <a:stretch/>
        </p:blipFill>
        <p:spPr>
          <a:xfrm>
            <a:off x="1902467" y="395577"/>
            <a:ext cx="8457014" cy="6066845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4E70A34-6008-5F14-6413-20EDA39DF933}"/>
              </a:ext>
            </a:extLst>
          </p:cNvPr>
          <p:cNvCxnSpPr/>
          <p:nvPr/>
        </p:nvCxnSpPr>
        <p:spPr>
          <a:xfrm flipH="1" flipV="1">
            <a:off x="3220278" y="1630017"/>
            <a:ext cx="604299" cy="64405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33EB422-D3E8-0F71-7717-416CBD626E53}"/>
              </a:ext>
            </a:extLst>
          </p:cNvPr>
          <p:cNvCxnSpPr>
            <a:cxnSpLocks/>
          </p:cNvCxnSpPr>
          <p:nvPr/>
        </p:nvCxnSpPr>
        <p:spPr>
          <a:xfrm flipV="1">
            <a:off x="5793850" y="629478"/>
            <a:ext cx="0" cy="817659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A0D4BCD-881D-3051-7A5C-1CCFE88FDD92}"/>
              </a:ext>
            </a:extLst>
          </p:cNvPr>
          <p:cNvCxnSpPr>
            <a:cxnSpLocks/>
          </p:cNvCxnSpPr>
          <p:nvPr/>
        </p:nvCxnSpPr>
        <p:spPr>
          <a:xfrm flipV="1">
            <a:off x="7404782" y="2369489"/>
            <a:ext cx="824818" cy="640078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A81539F-4BBF-1663-6FAE-FAC0EA926A78}"/>
              </a:ext>
            </a:extLst>
          </p:cNvPr>
          <p:cNvCxnSpPr>
            <a:cxnSpLocks/>
          </p:cNvCxnSpPr>
          <p:nvPr/>
        </p:nvCxnSpPr>
        <p:spPr>
          <a:xfrm flipH="1">
            <a:off x="3929270" y="5255812"/>
            <a:ext cx="690438" cy="43069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934C1F0-0599-9588-BF1F-75FBF59D6462}"/>
              </a:ext>
            </a:extLst>
          </p:cNvPr>
          <p:cNvCxnSpPr>
            <a:cxnSpLocks/>
          </p:cNvCxnSpPr>
          <p:nvPr/>
        </p:nvCxnSpPr>
        <p:spPr>
          <a:xfrm flipH="1" flipV="1">
            <a:off x="2044810" y="716279"/>
            <a:ext cx="690972" cy="219257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EB0F5594-6AEA-6052-A82D-9DD0A6DC2EBA}"/>
              </a:ext>
            </a:extLst>
          </p:cNvPr>
          <p:cNvCxnSpPr>
            <a:cxnSpLocks/>
          </p:cNvCxnSpPr>
          <p:nvPr/>
        </p:nvCxnSpPr>
        <p:spPr>
          <a:xfrm flipV="1">
            <a:off x="9485906" y="629478"/>
            <a:ext cx="571970" cy="333822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07519777-3303-DA67-0FBA-0ED5ABFD15DE}"/>
              </a:ext>
            </a:extLst>
          </p:cNvPr>
          <p:cNvSpPr txBox="1"/>
          <p:nvPr/>
        </p:nvSpPr>
        <p:spPr>
          <a:xfrm>
            <a:off x="5221097" y="1447137"/>
            <a:ext cx="11455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Masthead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9E2F8A7-B2B4-9F96-20B2-024896EE3069}"/>
              </a:ext>
            </a:extLst>
          </p:cNvPr>
          <p:cNvSpPr txBox="1"/>
          <p:nvPr/>
        </p:nvSpPr>
        <p:spPr>
          <a:xfrm>
            <a:off x="3524426" y="2264796"/>
            <a:ext cx="26225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ONOS Cluster Node Panel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C278016-A8C3-7585-2CC9-6B059AEF3BF4}"/>
              </a:ext>
            </a:extLst>
          </p:cNvPr>
          <p:cNvSpPr txBox="1"/>
          <p:nvPr/>
        </p:nvSpPr>
        <p:spPr>
          <a:xfrm>
            <a:off x="3920144" y="4886480"/>
            <a:ext cx="18151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Topology Toolbar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C56668E-5FF0-07B0-CEE6-2E3E1AC47790}"/>
              </a:ext>
            </a:extLst>
          </p:cNvPr>
          <p:cNvSpPr txBox="1"/>
          <p:nvPr/>
        </p:nvSpPr>
        <p:spPr>
          <a:xfrm>
            <a:off x="6247847" y="3009567"/>
            <a:ext cx="16784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Summary Panel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FED3F50-12AD-084B-E03D-B7433198DDAE}"/>
              </a:ext>
            </a:extLst>
          </p:cNvPr>
          <p:cNvSpPr txBox="1"/>
          <p:nvPr/>
        </p:nvSpPr>
        <p:spPr>
          <a:xfrm>
            <a:off x="2006457" y="2908852"/>
            <a:ext cx="25380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Navigation Menu Button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C8239DD-036D-1FD0-9D99-04D47331E3B1}"/>
              </a:ext>
            </a:extLst>
          </p:cNvPr>
          <p:cNvSpPr txBox="1"/>
          <p:nvPr/>
        </p:nvSpPr>
        <p:spPr>
          <a:xfrm>
            <a:off x="8615053" y="3967701"/>
            <a:ext cx="12634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Username/</a:t>
            </a:r>
          </a:p>
          <a:p>
            <a:r>
              <a:rPr lang="en-US" b="1" dirty="0">
                <a:solidFill>
                  <a:srgbClr val="FF0000"/>
                </a:solidFill>
              </a:rPr>
              <a:t>Logout link</a:t>
            </a:r>
            <a:endParaRPr lang="en-DE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6884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271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C985005-9D1D-4229-2495-1D89BE15AA22}"/>
              </a:ext>
            </a:extLst>
          </p:cNvPr>
          <p:cNvSpPr/>
          <p:nvPr/>
        </p:nvSpPr>
        <p:spPr>
          <a:xfrm>
            <a:off x="2382715" y="888023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&amp; Servic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Pla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531273-1BE2-98B3-B565-DB06743B5A5B}"/>
              </a:ext>
            </a:extLst>
          </p:cNvPr>
          <p:cNvSpPr/>
          <p:nvPr/>
        </p:nvSpPr>
        <p:spPr>
          <a:xfrm>
            <a:off x="2382715" y="2917581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 Pla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9A65EB-0940-0E9F-FB4C-F882271A02F4}"/>
              </a:ext>
            </a:extLst>
          </p:cNvPr>
          <p:cNvSpPr/>
          <p:nvPr/>
        </p:nvSpPr>
        <p:spPr>
          <a:xfrm>
            <a:off x="2382715" y="4947139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nfrastructur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Pla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9A9261-B891-C9B5-DD45-B4A649760F6A}"/>
              </a:ext>
            </a:extLst>
          </p:cNvPr>
          <p:cNvCxnSpPr>
            <a:stCxn id="6" idx="2"/>
            <a:endCxn id="7" idx="0"/>
          </p:cNvCxnSpPr>
          <p:nvPr/>
        </p:nvCxnSpPr>
        <p:spPr>
          <a:xfrm>
            <a:off x="6189784" y="3867151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886F7-7F89-FE59-A3D7-97F8EBC5007A}"/>
              </a:ext>
            </a:extLst>
          </p:cNvPr>
          <p:cNvCxnSpPr/>
          <p:nvPr/>
        </p:nvCxnSpPr>
        <p:spPr>
          <a:xfrm>
            <a:off x="6116515" y="1837593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afik 23">
            <a:extLst>
              <a:ext uri="{FF2B5EF4-FFF2-40B4-BE49-F238E27FC236}">
                <a16:creationId xmlns:a16="http://schemas.microsoft.com/office/drawing/2014/main" id="{08AAE9C9-007F-FB00-9B92-A4B37449F6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623770" y="3188013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4" name="Grafik 23">
              <a:extLst>
                <a:ext uri="{FF2B5EF4-FFF2-40B4-BE49-F238E27FC236}">
                  <a16:creationId xmlns:a16="http://schemas.microsoft.com/office/drawing/2014/main" id="{DF80250A-732F-E99E-B716-C039125961C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5" name="Grafik 23">
              <a:extLst>
                <a:ext uri="{FF2B5EF4-FFF2-40B4-BE49-F238E27FC236}">
                  <a16:creationId xmlns:a16="http://schemas.microsoft.com/office/drawing/2014/main" id="{6974DDC5-EDB2-5A96-0F06-F89543E65AC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6" name="Grafik 23">
              <a:extLst>
                <a:ext uri="{FF2B5EF4-FFF2-40B4-BE49-F238E27FC236}">
                  <a16:creationId xmlns:a16="http://schemas.microsoft.com/office/drawing/2014/main" id="{7989B6A3-AD97-15E2-F4AD-AF5F60D73D1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" name="Grafik 23">
              <a:extLst>
                <a:ext uri="{FF2B5EF4-FFF2-40B4-BE49-F238E27FC236}">
                  <a16:creationId xmlns:a16="http://schemas.microsoft.com/office/drawing/2014/main" id="{6A917DA7-4162-C6FD-DC3E-CC9EA0B4C90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" name="Grafik 23">
              <a:extLst>
                <a:ext uri="{FF2B5EF4-FFF2-40B4-BE49-F238E27FC236}">
                  <a16:creationId xmlns:a16="http://schemas.microsoft.com/office/drawing/2014/main" id="{DD8A2928-2A28-101F-0ADA-49A39EC7E306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9" name="Grafik 23">
              <a:extLst>
                <a:ext uri="{FF2B5EF4-FFF2-40B4-BE49-F238E27FC236}">
                  <a16:creationId xmlns:a16="http://schemas.microsoft.com/office/drawing/2014/main" id="{0F293A8A-BCA8-898A-1A7B-C92E4CF2A3C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0" name="Grafik 23">
                <a:extLst>
                  <a:ext uri="{FF2B5EF4-FFF2-40B4-BE49-F238E27FC236}">
                    <a16:creationId xmlns:a16="http://schemas.microsoft.com/office/drawing/2014/main" id="{2997FC76-4B4F-6E5B-8B95-7C13A556F05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1" name="Grafik 23">
                <a:extLst>
                  <a:ext uri="{FF2B5EF4-FFF2-40B4-BE49-F238E27FC236}">
                    <a16:creationId xmlns:a16="http://schemas.microsoft.com/office/drawing/2014/main" id="{052BDCB7-4F21-C6E0-9CC8-9E536020F5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2" name="Grafik 23">
                <a:extLst>
                  <a:ext uri="{FF2B5EF4-FFF2-40B4-BE49-F238E27FC236}">
                    <a16:creationId xmlns:a16="http://schemas.microsoft.com/office/drawing/2014/main" id="{20841E43-7F27-FDBE-27DE-203DA72F4090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3" name="Grafik 23">
                <a:extLst>
                  <a:ext uri="{FF2B5EF4-FFF2-40B4-BE49-F238E27FC236}">
                    <a16:creationId xmlns:a16="http://schemas.microsoft.com/office/drawing/2014/main" id="{DCDC4410-12AE-F1E0-18F1-4C37204C9714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4" name="Grafik 17">
            <a:extLst>
              <a:ext uri="{FF2B5EF4-FFF2-40B4-BE49-F238E27FC236}">
                <a16:creationId xmlns:a16="http://schemas.microsoft.com/office/drawing/2014/main" id="{91F497C2-295D-3577-DF9E-E65919D1E25D}"/>
              </a:ext>
            </a:extLst>
          </p:cNvPr>
          <p:cNvGrpSpPr/>
          <p:nvPr/>
        </p:nvGrpSpPr>
        <p:grpSpPr bwMode="gray">
          <a:xfrm>
            <a:off x="6416901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25" name="Grafik 17">
              <a:extLst>
                <a:ext uri="{FF2B5EF4-FFF2-40B4-BE49-F238E27FC236}">
                  <a16:creationId xmlns:a16="http://schemas.microsoft.com/office/drawing/2014/main" id="{E926856D-C7FF-B9A0-CE12-1E2E2E9AC755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Grafik 17">
              <a:extLst>
                <a:ext uri="{FF2B5EF4-FFF2-40B4-BE49-F238E27FC236}">
                  <a16:creationId xmlns:a16="http://schemas.microsoft.com/office/drawing/2014/main" id="{3A1CB773-F39C-A91D-9094-6DD94795A80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" name="Grafik 17">
              <a:extLst>
                <a:ext uri="{FF2B5EF4-FFF2-40B4-BE49-F238E27FC236}">
                  <a16:creationId xmlns:a16="http://schemas.microsoft.com/office/drawing/2014/main" id="{A19705EB-725C-259A-C26D-69C70CC8177A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8" name="Grafik 17">
                <a:extLst>
                  <a:ext uri="{FF2B5EF4-FFF2-40B4-BE49-F238E27FC236}">
                    <a16:creationId xmlns:a16="http://schemas.microsoft.com/office/drawing/2014/main" id="{F61C6D14-826E-4FD0-24FD-0F54D20B55E5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41" name="Grafik 17">
                  <a:extLst>
                    <a:ext uri="{FF2B5EF4-FFF2-40B4-BE49-F238E27FC236}">
                      <a16:creationId xmlns:a16="http://schemas.microsoft.com/office/drawing/2014/main" id="{1D991740-7C7F-48FA-8D2D-95F33E854DC4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" name="Grafik 17">
                  <a:extLst>
                    <a:ext uri="{FF2B5EF4-FFF2-40B4-BE49-F238E27FC236}">
                      <a16:creationId xmlns:a16="http://schemas.microsoft.com/office/drawing/2014/main" id="{8935046B-3945-8A04-C58A-FE37ED8D1EB2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" name="Grafik 17">
                  <a:extLst>
                    <a:ext uri="{FF2B5EF4-FFF2-40B4-BE49-F238E27FC236}">
                      <a16:creationId xmlns:a16="http://schemas.microsoft.com/office/drawing/2014/main" id="{56555DB8-6DEC-D136-485C-3C0E94B467F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9" name="Grafik 17">
                <a:extLst>
                  <a:ext uri="{FF2B5EF4-FFF2-40B4-BE49-F238E27FC236}">
                    <a16:creationId xmlns:a16="http://schemas.microsoft.com/office/drawing/2014/main" id="{12630CE5-4825-2D09-B76B-5A799B906430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38" name="Grafik 17">
                  <a:extLst>
                    <a:ext uri="{FF2B5EF4-FFF2-40B4-BE49-F238E27FC236}">
                      <a16:creationId xmlns:a16="http://schemas.microsoft.com/office/drawing/2014/main" id="{8C6F64A3-88C1-A6FA-A175-28CE8C77A47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" name="Grafik 17">
                  <a:extLst>
                    <a:ext uri="{FF2B5EF4-FFF2-40B4-BE49-F238E27FC236}">
                      <a16:creationId xmlns:a16="http://schemas.microsoft.com/office/drawing/2014/main" id="{B1F681C9-4348-2933-6CAD-ED1CDC3A8A67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" name="Grafik 17">
                  <a:extLst>
                    <a:ext uri="{FF2B5EF4-FFF2-40B4-BE49-F238E27FC236}">
                      <a16:creationId xmlns:a16="http://schemas.microsoft.com/office/drawing/2014/main" id="{2C86DC6B-54A3-C5CE-CCE2-031C0B8A7E6D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" name="Grafik 17">
                <a:extLst>
                  <a:ext uri="{FF2B5EF4-FFF2-40B4-BE49-F238E27FC236}">
                    <a16:creationId xmlns:a16="http://schemas.microsoft.com/office/drawing/2014/main" id="{EA642BEA-D54F-665C-7773-2FA8B07FC44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35" name="Grafik 17">
                  <a:extLst>
                    <a:ext uri="{FF2B5EF4-FFF2-40B4-BE49-F238E27FC236}">
                      <a16:creationId xmlns:a16="http://schemas.microsoft.com/office/drawing/2014/main" id="{D9478077-56BD-B38A-5B83-06AF88FA0E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" name="Grafik 17">
                  <a:extLst>
                    <a:ext uri="{FF2B5EF4-FFF2-40B4-BE49-F238E27FC236}">
                      <a16:creationId xmlns:a16="http://schemas.microsoft.com/office/drawing/2014/main" id="{4BB4E390-B919-6455-BBC8-92D8A471607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" name="Grafik 17">
                  <a:extLst>
                    <a:ext uri="{FF2B5EF4-FFF2-40B4-BE49-F238E27FC236}">
                      <a16:creationId xmlns:a16="http://schemas.microsoft.com/office/drawing/2014/main" id="{E0E17E8D-8C97-C72D-A223-E61176ED5821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1" name="Grafik 17">
                <a:extLst>
                  <a:ext uri="{FF2B5EF4-FFF2-40B4-BE49-F238E27FC236}">
                    <a16:creationId xmlns:a16="http://schemas.microsoft.com/office/drawing/2014/main" id="{8536039E-222F-9AB6-449E-A58B6A2849C5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32" name="Grafik 17">
                  <a:extLst>
                    <a:ext uri="{FF2B5EF4-FFF2-40B4-BE49-F238E27FC236}">
                      <a16:creationId xmlns:a16="http://schemas.microsoft.com/office/drawing/2014/main" id="{402B9A9E-06CB-E0E4-DEE6-671F32F2CE7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" name="Grafik 17">
                  <a:extLst>
                    <a:ext uri="{FF2B5EF4-FFF2-40B4-BE49-F238E27FC236}">
                      <a16:creationId xmlns:a16="http://schemas.microsoft.com/office/drawing/2014/main" id="{7031E986-B867-ACAE-6484-10439C25AACC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" name="Grafik 17">
                  <a:extLst>
                    <a:ext uri="{FF2B5EF4-FFF2-40B4-BE49-F238E27FC236}">
                      <a16:creationId xmlns:a16="http://schemas.microsoft.com/office/drawing/2014/main" id="{A7540C61-0C98-9C5C-080E-1F3FAD59B79E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44" name="Grafik 27">
            <a:extLst>
              <a:ext uri="{FF2B5EF4-FFF2-40B4-BE49-F238E27FC236}">
                <a16:creationId xmlns:a16="http://schemas.microsoft.com/office/drawing/2014/main" id="{0B136381-15EE-FA4F-F53F-6A1778AD4915}"/>
              </a:ext>
            </a:extLst>
          </p:cNvPr>
          <p:cNvGrpSpPr/>
          <p:nvPr/>
        </p:nvGrpSpPr>
        <p:grpSpPr bwMode="gray">
          <a:xfrm>
            <a:off x="7097103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45" name="Grafik 27">
              <a:extLst>
                <a:ext uri="{FF2B5EF4-FFF2-40B4-BE49-F238E27FC236}">
                  <a16:creationId xmlns:a16="http://schemas.microsoft.com/office/drawing/2014/main" id="{5DDFE77A-984E-441C-3D71-76CA0E2C21D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0" name="Grafik 27">
                <a:extLst>
                  <a:ext uri="{FF2B5EF4-FFF2-40B4-BE49-F238E27FC236}">
                    <a16:creationId xmlns:a16="http://schemas.microsoft.com/office/drawing/2014/main" id="{BE4058C6-2FA6-0182-0C7D-AEB588D3334C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1" name="Grafik 27">
                <a:extLst>
                  <a:ext uri="{FF2B5EF4-FFF2-40B4-BE49-F238E27FC236}">
                    <a16:creationId xmlns:a16="http://schemas.microsoft.com/office/drawing/2014/main" id="{F4517E31-46DF-E7FF-25CF-FB4EE10B93A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Grafik 27">
                <a:extLst>
                  <a:ext uri="{FF2B5EF4-FFF2-40B4-BE49-F238E27FC236}">
                    <a16:creationId xmlns:a16="http://schemas.microsoft.com/office/drawing/2014/main" id="{93ECCBC4-F481-111A-4C9C-8FE49FFE65F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Grafik 27">
                <a:extLst>
                  <a:ext uri="{FF2B5EF4-FFF2-40B4-BE49-F238E27FC236}">
                    <a16:creationId xmlns:a16="http://schemas.microsoft.com/office/drawing/2014/main" id="{20B35378-22D8-E9B2-7D3E-BB854A545A0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Grafik 27">
                <a:extLst>
                  <a:ext uri="{FF2B5EF4-FFF2-40B4-BE49-F238E27FC236}">
                    <a16:creationId xmlns:a16="http://schemas.microsoft.com/office/drawing/2014/main" id="{BB331447-8134-6AFD-7F03-F59803E0965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6" name="Grafik 27">
              <a:extLst>
                <a:ext uri="{FF2B5EF4-FFF2-40B4-BE49-F238E27FC236}">
                  <a16:creationId xmlns:a16="http://schemas.microsoft.com/office/drawing/2014/main" id="{1A5803A2-A9AF-35B0-2CA9-05B591576B1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7" name="Grafik 27">
                <a:extLst>
                  <a:ext uri="{FF2B5EF4-FFF2-40B4-BE49-F238E27FC236}">
                    <a16:creationId xmlns:a16="http://schemas.microsoft.com/office/drawing/2014/main" id="{2C7442F9-0DCC-843A-54D3-902C7950CF88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77" name="Grafik 27">
                  <a:extLst>
                    <a:ext uri="{FF2B5EF4-FFF2-40B4-BE49-F238E27FC236}">
                      <a16:creationId xmlns:a16="http://schemas.microsoft.com/office/drawing/2014/main" id="{741A6A3C-FCFF-BB6E-CF6E-0F9AB82D45A8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8" name="Grafik 27">
                  <a:extLst>
                    <a:ext uri="{FF2B5EF4-FFF2-40B4-BE49-F238E27FC236}">
                      <a16:creationId xmlns:a16="http://schemas.microsoft.com/office/drawing/2014/main" id="{816E81B9-3D0D-1910-5E43-49B77B41DE69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9" name="Grafik 27">
                  <a:extLst>
                    <a:ext uri="{FF2B5EF4-FFF2-40B4-BE49-F238E27FC236}">
                      <a16:creationId xmlns:a16="http://schemas.microsoft.com/office/drawing/2014/main" id="{F69A7E17-3B6D-5B6E-FD93-B96E07C63545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" name="Grafik 27">
                <a:extLst>
                  <a:ext uri="{FF2B5EF4-FFF2-40B4-BE49-F238E27FC236}">
                    <a16:creationId xmlns:a16="http://schemas.microsoft.com/office/drawing/2014/main" id="{94506FE5-0528-4A3C-7EFC-E7F53519967B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74" name="Grafik 27">
                  <a:extLst>
                    <a:ext uri="{FF2B5EF4-FFF2-40B4-BE49-F238E27FC236}">
                      <a16:creationId xmlns:a16="http://schemas.microsoft.com/office/drawing/2014/main" id="{6A0BE18F-EC47-F6AC-594F-58D61D651B97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" name="Grafik 27">
                  <a:extLst>
                    <a:ext uri="{FF2B5EF4-FFF2-40B4-BE49-F238E27FC236}">
                      <a16:creationId xmlns:a16="http://schemas.microsoft.com/office/drawing/2014/main" id="{44799351-F611-BA24-4A4C-A94C846FE0AC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" name="Grafik 27">
                  <a:extLst>
                    <a:ext uri="{FF2B5EF4-FFF2-40B4-BE49-F238E27FC236}">
                      <a16:creationId xmlns:a16="http://schemas.microsoft.com/office/drawing/2014/main" id="{04CB6BDC-82D3-799F-12F5-F344ABBD5EA9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9" name="Grafik 27">
                <a:extLst>
                  <a:ext uri="{FF2B5EF4-FFF2-40B4-BE49-F238E27FC236}">
                    <a16:creationId xmlns:a16="http://schemas.microsoft.com/office/drawing/2014/main" id="{82CBDA4E-BB9D-E928-B5D7-F6541D4AFAE7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71" name="Grafik 27">
                  <a:extLst>
                    <a:ext uri="{FF2B5EF4-FFF2-40B4-BE49-F238E27FC236}">
                      <a16:creationId xmlns:a16="http://schemas.microsoft.com/office/drawing/2014/main" id="{41795BD3-B8BB-D83F-766B-8E56711CAAE0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" name="Grafik 27">
                  <a:extLst>
                    <a:ext uri="{FF2B5EF4-FFF2-40B4-BE49-F238E27FC236}">
                      <a16:creationId xmlns:a16="http://schemas.microsoft.com/office/drawing/2014/main" id="{DC9F2545-7A43-8BAD-7C36-3AFAA1FE2757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" name="Grafik 27">
                  <a:extLst>
                    <a:ext uri="{FF2B5EF4-FFF2-40B4-BE49-F238E27FC236}">
                      <a16:creationId xmlns:a16="http://schemas.microsoft.com/office/drawing/2014/main" id="{9CBD5336-62AC-53A3-5205-89916AF430CE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0" name="Grafik 27">
                <a:extLst>
                  <a:ext uri="{FF2B5EF4-FFF2-40B4-BE49-F238E27FC236}">
                    <a16:creationId xmlns:a16="http://schemas.microsoft.com/office/drawing/2014/main" id="{8AC4BCAF-7826-0CA4-6FF9-50F020B87883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68" name="Grafik 27">
                  <a:extLst>
                    <a:ext uri="{FF2B5EF4-FFF2-40B4-BE49-F238E27FC236}">
                      <a16:creationId xmlns:a16="http://schemas.microsoft.com/office/drawing/2014/main" id="{3866B816-6D9B-4FC5-31D4-8B02BC434595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9" name="Grafik 27">
                  <a:extLst>
                    <a:ext uri="{FF2B5EF4-FFF2-40B4-BE49-F238E27FC236}">
                      <a16:creationId xmlns:a16="http://schemas.microsoft.com/office/drawing/2014/main" id="{0F270F81-42C1-D749-6BFD-A3E5339E5FDA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" name="Grafik 27">
                  <a:extLst>
                    <a:ext uri="{FF2B5EF4-FFF2-40B4-BE49-F238E27FC236}">
                      <a16:creationId xmlns:a16="http://schemas.microsoft.com/office/drawing/2014/main" id="{2F0550ED-DBE2-8330-1175-F44B24B34039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1" name="Grafik 27">
                <a:extLst>
                  <a:ext uri="{FF2B5EF4-FFF2-40B4-BE49-F238E27FC236}">
                    <a16:creationId xmlns:a16="http://schemas.microsoft.com/office/drawing/2014/main" id="{5F7343D2-896B-3A09-22D2-569B6392414C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65" name="Grafik 27">
                  <a:extLst>
                    <a:ext uri="{FF2B5EF4-FFF2-40B4-BE49-F238E27FC236}">
                      <a16:creationId xmlns:a16="http://schemas.microsoft.com/office/drawing/2014/main" id="{AB4B3DF0-1935-F1F9-AEAE-38B11BE84A6C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" name="Grafik 27">
                  <a:extLst>
                    <a:ext uri="{FF2B5EF4-FFF2-40B4-BE49-F238E27FC236}">
                      <a16:creationId xmlns:a16="http://schemas.microsoft.com/office/drawing/2014/main" id="{1359C3CE-2594-5438-5D16-D595B0AC44BF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7" name="Grafik 27">
                  <a:extLst>
                    <a:ext uri="{FF2B5EF4-FFF2-40B4-BE49-F238E27FC236}">
                      <a16:creationId xmlns:a16="http://schemas.microsoft.com/office/drawing/2014/main" id="{FC2EA51B-D9E1-C90C-529F-C900808F6930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" name="Grafik 27">
                <a:extLst>
                  <a:ext uri="{FF2B5EF4-FFF2-40B4-BE49-F238E27FC236}">
                    <a16:creationId xmlns:a16="http://schemas.microsoft.com/office/drawing/2014/main" id="{7EDC4270-A250-966F-5713-642BB5B9912D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62" name="Grafik 27">
                  <a:extLst>
                    <a:ext uri="{FF2B5EF4-FFF2-40B4-BE49-F238E27FC236}">
                      <a16:creationId xmlns:a16="http://schemas.microsoft.com/office/drawing/2014/main" id="{CD0337CF-206C-BFC7-2050-487DE44F75A8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3" name="Grafik 27">
                  <a:extLst>
                    <a:ext uri="{FF2B5EF4-FFF2-40B4-BE49-F238E27FC236}">
                      <a16:creationId xmlns:a16="http://schemas.microsoft.com/office/drawing/2014/main" id="{64972F7D-F6D4-4C0A-E78B-BC651874B8E1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" name="Grafik 27">
                  <a:extLst>
                    <a:ext uri="{FF2B5EF4-FFF2-40B4-BE49-F238E27FC236}">
                      <a16:creationId xmlns:a16="http://schemas.microsoft.com/office/drawing/2014/main" id="{ADBA1691-E827-0461-66F2-AC56D221A8F5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3" name="Grafik 27">
                <a:extLst>
                  <a:ext uri="{FF2B5EF4-FFF2-40B4-BE49-F238E27FC236}">
                    <a16:creationId xmlns:a16="http://schemas.microsoft.com/office/drawing/2014/main" id="{4E2254E7-AFA7-05EF-8331-B4A68CC3F89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59" name="Grafik 27">
                  <a:extLst>
                    <a:ext uri="{FF2B5EF4-FFF2-40B4-BE49-F238E27FC236}">
                      <a16:creationId xmlns:a16="http://schemas.microsoft.com/office/drawing/2014/main" id="{4E989F93-CE9E-D648-1773-AE1A3C77AC18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0" name="Grafik 27">
                  <a:extLst>
                    <a:ext uri="{FF2B5EF4-FFF2-40B4-BE49-F238E27FC236}">
                      <a16:creationId xmlns:a16="http://schemas.microsoft.com/office/drawing/2014/main" id="{DB12202A-3E84-F0FB-90AF-5AF69E2FE206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1" name="Grafik 27">
                  <a:extLst>
                    <a:ext uri="{FF2B5EF4-FFF2-40B4-BE49-F238E27FC236}">
                      <a16:creationId xmlns:a16="http://schemas.microsoft.com/office/drawing/2014/main" id="{3F83DCE1-04A4-C6B6-04F4-A375314A19AD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4" name="Grafik 27">
                <a:extLst>
                  <a:ext uri="{FF2B5EF4-FFF2-40B4-BE49-F238E27FC236}">
                    <a16:creationId xmlns:a16="http://schemas.microsoft.com/office/drawing/2014/main" id="{53FE468E-F028-BAEB-6E5B-08E2E0D5B949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56" name="Grafik 27">
                  <a:extLst>
                    <a:ext uri="{FF2B5EF4-FFF2-40B4-BE49-F238E27FC236}">
                      <a16:creationId xmlns:a16="http://schemas.microsoft.com/office/drawing/2014/main" id="{FA7F7C13-726C-87DE-F8D9-B0611AA9AF83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" name="Grafik 27">
                  <a:extLst>
                    <a:ext uri="{FF2B5EF4-FFF2-40B4-BE49-F238E27FC236}">
                      <a16:creationId xmlns:a16="http://schemas.microsoft.com/office/drawing/2014/main" id="{BD4E4C05-826E-04EF-BE70-3BC3F31E31F4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" name="Grafik 27">
                  <a:extLst>
                    <a:ext uri="{FF2B5EF4-FFF2-40B4-BE49-F238E27FC236}">
                      <a16:creationId xmlns:a16="http://schemas.microsoft.com/office/drawing/2014/main" id="{25BFED27-AE92-CF63-8647-9A73459EC300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55" name="Grafik 27">
                <a:extLst>
                  <a:ext uri="{FF2B5EF4-FFF2-40B4-BE49-F238E27FC236}">
                    <a16:creationId xmlns:a16="http://schemas.microsoft.com/office/drawing/2014/main" id="{DEF33DE6-A0D3-67F8-CEA0-3D03A30990A4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85" name="Grafik 17">
            <a:extLst>
              <a:ext uri="{FF2B5EF4-FFF2-40B4-BE49-F238E27FC236}">
                <a16:creationId xmlns:a16="http://schemas.microsoft.com/office/drawing/2014/main" id="{A91491D8-6639-07D5-227E-69C83D72F457}"/>
              </a:ext>
            </a:extLst>
          </p:cNvPr>
          <p:cNvGrpSpPr/>
          <p:nvPr/>
        </p:nvGrpSpPr>
        <p:grpSpPr bwMode="gray">
          <a:xfrm>
            <a:off x="7777305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86" name="Grafik 17">
              <a:extLst>
                <a:ext uri="{FF2B5EF4-FFF2-40B4-BE49-F238E27FC236}">
                  <a16:creationId xmlns:a16="http://schemas.microsoft.com/office/drawing/2014/main" id="{780EFF5A-5B6A-818E-CB9F-33626E57A4FC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Grafik 17">
              <a:extLst>
                <a:ext uri="{FF2B5EF4-FFF2-40B4-BE49-F238E27FC236}">
                  <a16:creationId xmlns:a16="http://schemas.microsoft.com/office/drawing/2014/main" id="{B182D053-9896-E7F6-D935-CE1C5B1ED060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8" name="Grafik 17">
              <a:extLst>
                <a:ext uri="{FF2B5EF4-FFF2-40B4-BE49-F238E27FC236}">
                  <a16:creationId xmlns:a16="http://schemas.microsoft.com/office/drawing/2014/main" id="{5D1D717D-D745-03EC-2FF8-5F4F589334A3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89" name="Grafik 17">
                <a:extLst>
                  <a:ext uri="{FF2B5EF4-FFF2-40B4-BE49-F238E27FC236}">
                    <a16:creationId xmlns:a16="http://schemas.microsoft.com/office/drawing/2014/main" id="{7B98D2EA-1DC0-490F-6E7B-50782CEEEEF2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02" name="Grafik 17">
                  <a:extLst>
                    <a:ext uri="{FF2B5EF4-FFF2-40B4-BE49-F238E27FC236}">
                      <a16:creationId xmlns:a16="http://schemas.microsoft.com/office/drawing/2014/main" id="{13265262-FFDC-F804-127E-DAE8C450209C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3" name="Grafik 17">
                  <a:extLst>
                    <a:ext uri="{FF2B5EF4-FFF2-40B4-BE49-F238E27FC236}">
                      <a16:creationId xmlns:a16="http://schemas.microsoft.com/office/drawing/2014/main" id="{C121820F-B3CA-9B79-E783-FA667FA01C8A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4" name="Grafik 17">
                  <a:extLst>
                    <a:ext uri="{FF2B5EF4-FFF2-40B4-BE49-F238E27FC236}">
                      <a16:creationId xmlns:a16="http://schemas.microsoft.com/office/drawing/2014/main" id="{7F9AEDC7-DF34-B050-2441-E184E85D92A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0" name="Grafik 17">
                <a:extLst>
                  <a:ext uri="{FF2B5EF4-FFF2-40B4-BE49-F238E27FC236}">
                    <a16:creationId xmlns:a16="http://schemas.microsoft.com/office/drawing/2014/main" id="{1184461F-9044-1DA5-A70A-A0D2C4192C3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99" name="Grafik 17">
                  <a:extLst>
                    <a:ext uri="{FF2B5EF4-FFF2-40B4-BE49-F238E27FC236}">
                      <a16:creationId xmlns:a16="http://schemas.microsoft.com/office/drawing/2014/main" id="{7C00CA56-734E-7E76-CA1A-080908F3BEA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0" name="Grafik 17">
                  <a:extLst>
                    <a:ext uri="{FF2B5EF4-FFF2-40B4-BE49-F238E27FC236}">
                      <a16:creationId xmlns:a16="http://schemas.microsoft.com/office/drawing/2014/main" id="{51C13176-3A25-0BC3-7D12-47F24DA6EF89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1" name="Grafik 17">
                  <a:extLst>
                    <a:ext uri="{FF2B5EF4-FFF2-40B4-BE49-F238E27FC236}">
                      <a16:creationId xmlns:a16="http://schemas.microsoft.com/office/drawing/2014/main" id="{CA4E6830-ECA2-0437-3D3E-72E5B7E3F28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1" name="Grafik 17">
                <a:extLst>
                  <a:ext uri="{FF2B5EF4-FFF2-40B4-BE49-F238E27FC236}">
                    <a16:creationId xmlns:a16="http://schemas.microsoft.com/office/drawing/2014/main" id="{DF8B37A6-9E15-AF44-1A71-BB30ED66FEA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96" name="Grafik 17">
                  <a:extLst>
                    <a:ext uri="{FF2B5EF4-FFF2-40B4-BE49-F238E27FC236}">
                      <a16:creationId xmlns:a16="http://schemas.microsoft.com/office/drawing/2014/main" id="{9C902AA8-FC79-B0DC-8A64-FD445E717E9D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7" name="Grafik 17">
                  <a:extLst>
                    <a:ext uri="{FF2B5EF4-FFF2-40B4-BE49-F238E27FC236}">
                      <a16:creationId xmlns:a16="http://schemas.microsoft.com/office/drawing/2014/main" id="{F411A9CB-4606-283B-7688-286E209DD3FD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8" name="Grafik 17">
                  <a:extLst>
                    <a:ext uri="{FF2B5EF4-FFF2-40B4-BE49-F238E27FC236}">
                      <a16:creationId xmlns:a16="http://schemas.microsoft.com/office/drawing/2014/main" id="{A10610E1-2D47-4399-90F9-B436524C5528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2" name="Grafik 17">
                <a:extLst>
                  <a:ext uri="{FF2B5EF4-FFF2-40B4-BE49-F238E27FC236}">
                    <a16:creationId xmlns:a16="http://schemas.microsoft.com/office/drawing/2014/main" id="{587A50F3-4841-C1A8-618E-F65BB570F1E1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93" name="Grafik 17">
                  <a:extLst>
                    <a:ext uri="{FF2B5EF4-FFF2-40B4-BE49-F238E27FC236}">
                      <a16:creationId xmlns:a16="http://schemas.microsoft.com/office/drawing/2014/main" id="{FA20C493-A5F5-0C44-45B0-EC50424A99B9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4" name="Grafik 17">
                  <a:extLst>
                    <a:ext uri="{FF2B5EF4-FFF2-40B4-BE49-F238E27FC236}">
                      <a16:creationId xmlns:a16="http://schemas.microsoft.com/office/drawing/2014/main" id="{E04A7F27-F745-D473-316B-0692B6DD86F1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5" name="Grafik 17">
                  <a:extLst>
                    <a:ext uri="{FF2B5EF4-FFF2-40B4-BE49-F238E27FC236}">
                      <a16:creationId xmlns:a16="http://schemas.microsoft.com/office/drawing/2014/main" id="{DCCBE77A-1F63-9D66-9707-B738844C741C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05" name="Grafik 27">
            <a:extLst>
              <a:ext uri="{FF2B5EF4-FFF2-40B4-BE49-F238E27FC236}">
                <a16:creationId xmlns:a16="http://schemas.microsoft.com/office/drawing/2014/main" id="{E15E9F64-27D1-2E12-D31E-691BB98A57C4}"/>
              </a:ext>
            </a:extLst>
          </p:cNvPr>
          <p:cNvGrpSpPr/>
          <p:nvPr/>
        </p:nvGrpSpPr>
        <p:grpSpPr bwMode="gray">
          <a:xfrm>
            <a:off x="8457507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06" name="Grafik 27">
              <a:extLst>
                <a:ext uri="{FF2B5EF4-FFF2-40B4-BE49-F238E27FC236}">
                  <a16:creationId xmlns:a16="http://schemas.microsoft.com/office/drawing/2014/main" id="{37F266FA-35A6-072E-3ED2-1F764834B11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41" name="Grafik 27">
                <a:extLst>
                  <a:ext uri="{FF2B5EF4-FFF2-40B4-BE49-F238E27FC236}">
                    <a16:creationId xmlns:a16="http://schemas.microsoft.com/office/drawing/2014/main" id="{23B17ED1-4FEE-47AD-20E5-763EE58586A0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2" name="Grafik 27">
                <a:extLst>
                  <a:ext uri="{FF2B5EF4-FFF2-40B4-BE49-F238E27FC236}">
                    <a16:creationId xmlns:a16="http://schemas.microsoft.com/office/drawing/2014/main" id="{1E87F396-8105-0F96-E779-171EFA95925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3" name="Grafik 27">
                <a:extLst>
                  <a:ext uri="{FF2B5EF4-FFF2-40B4-BE49-F238E27FC236}">
                    <a16:creationId xmlns:a16="http://schemas.microsoft.com/office/drawing/2014/main" id="{D43663D8-3660-C3A6-7EF4-FC032B2094D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4" name="Grafik 27">
                <a:extLst>
                  <a:ext uri="{FF2B5EF4-FFF2-40B4-BE49-F238E27FC236}">
                    <a16:creationId xmlns:a16="http://schemas.microsoft.com/office/drawing/2014/main" id="{F1E06C8A-86EB-24FA-7265-AD6B9CD180D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5" name="Grafik 27">
                <a:extLst>
                  <a:ext uri="{FF2B5EF4-FFF2-40B4-BE49-F238E27FC236}">
                    <a16:creationId xmlns:a16="http://schemas.microsoft.com/office/drawing/2014/main" id="{740D66F0-7704-7D62-9E8D-0F5C8A40B09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7" name="Grafik 27">
              <a:extLst>
                <a:ext uri="{FF2B5EF4-FFF2-40B4-BE49-F238E27FC236}">
                  <a16:creationId xmlns:a16="http://schemas.microsoft.com/office/drawing/2014/main" id="{6FB821A9-7B2D-C558-36DD-E21A1B3C1D2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108" name="Grafik 27">
                <a:extLst>
                  <a:ext uri="{FF2B5EF4-FFF2-40B4-BE49-F238E27FC236}">
                    <a16:creationId xmlns:a16="http://schemas.microsoft.com/office/drawing/2014/main" id="{C73ED232-0818-E3FF-5106-4051D80E4636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138" name="Grafik 27">
                  <a:extLst>
                    <a:ext uri="{FF2B5EF4-FFF2-40B4-BE49-F238E27FC236}">
                      <a16:creationId xmlns:a16="http://schemas.microsoft.com/office/drawing/2014/main" id="{79FF8A86-8112-CFB0-FDDF-E9D3293C1E79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9" name="Grafik 27">
                  <a:extLst>
                    <a:ext uri="{FF2B5EF4-FFF2-40B4-BE49-F238E27FC236}">
                      <a16:creationId xmlns:a16="http://schemas.microsoft.com/office/drawing/2014/main" id="{C800D16C-64E3-0C38-0022-E7EEACC37C07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0" name="Grafik 27">
                  <a:extLst>
                    <a:ext uri="{FF2B5EF4-FFF2-40B4-BE49-F238E27FC236}">
                      <a16:creationId xmlns:a16="http://schemas.microsoft.com/office/drawing/2014/main" id="{CFBE8C92-9DCB-13C9-EF1D-E69D5BA7904B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09" name="Grafik 27">
                <a:extLst>
                  <a:ext uri="{FF2B5EF4-FFF2-40B4-BE49-F238E27FC236}">
                    <a16:creationId xmlns:a16="http://schemas.microsoft.com/office/drawing/2014/main" id="{301577A8-3687-97E7-7EE9-EAC425A4BC7C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135" name="Grafik 27">
                  <a:extLst>
                    <a:ext uri="{FF2B5EF4-FFF2-40B4-BE49-F238E27FC236}">
                      <a16:creationId xmlns:a16="http://schemas.microsoft.com/office/drawing/2014/main" id="{CC7E54FC-3C79-B680-8545-0464509CBF30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6" name="Grafik 27">
                  <a:extLst>
                    <a:ext uri="{FF2B5EF4-FFF2-40B4-BE49-F238E27FC236}">
                      <a16:creationId xmlns:a16="http://schemas.microsoft.com/office/drawing/2014/main" id="{E8DBFF1C-EFED-DC31-E924-4922AEBBEAC4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7" name="Grafik 27">
                  <a:extLst>
                    <a:ext uri="{FF2B5EF4-FFF2-40B4-BE49-F238E27FC236}">
                      <a16:creationId xmlns:a16="http://schemas.microsoft.com/office/drawing/2014/main" id="{4AB9A176-AAC7-F4DA-E6C2-B0D4BB1EF2BD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0" name="Grafik 27">
                <a:extLst>
                  <a:ext uri="{FF2B5EF4-FFF2-40B4-BE49-F238E27FC236}">
                    <a16:creationId xmlns:a16="http://schemas.microsoft.com/office/drawing/2014/main" id="{B587CC79-1B03-7FED-ABE6-48A78B1A2828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132" name="Grafik 27">
                  <a:extLst>
                    <a:ext uri="{FF2B5EF4-FFF2-40B4-BE49-F238E27FC236}">
                      <a16:creationId xmlns:a16="http://schemas.microsoft.com/office/drawing/2014/main" id="{6E056C9A-3EEC-5341-CADA-40AF83E78D1B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3" name="Grafik 27">
                  <a:extLst>
                    <a:ext uri="{FF2B5EF4-FFF2-40B4-BE49-F238E27FC236}">
                      <a16:creationId xmlns:a16="http://schemas.microsoft.com/office/drawing/2014/main" id="{60035517-F79C-93D2-08A1-7000FBD786C3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4" name="Grafik 27">
                  <a:extLst>
                    <a:ext uri="{FF2B5EF4-FFF2-40B4-BE49-F238E27FC236}">
                      <a16:creationId xmlns:a16="http://schemas.microsoft.com/office/drawing/2014/main" id="{9F411201-A49F-B14A-FC76-4749D9CE2460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1" name="Grafik 27">
                <a:extLst>
                  <a:ext uri="{FF2B5EF4-FFF2-40B4-BE49-F238E27FC236}">
                    <a16:creationId xmlns:a16="http://schemas.microsoft.com/office/drawing/2014/main" id="{DE52058F-8A09-97EC-FCAB-6CD0C6E3779F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129" name="Grafik 27">
                  <a:extLst>
                    <a:ext uri="{FF2B5EF4-FFF2-40B4-BE49-F238E27FC236}">
                      <a16:creationId xmlns:a16="http://schemas.microsoft.com/office/drawing/2014/main" id="{1B4B30EA-70FC-F1B3-1007-D0A90C5A4D2A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0" name="Grafik 27">
                  <a:extLst>
                    <a:ext uri="{FF2B5EF4-FFF2-40B4-BE49-F238E27FC236}">
                      <a16:creationId xmlns:a16="http://schemas.microsoft.com/office/drawing/2014/main" id="{26FB956C-87A5-616A-CEFC-5AF5FBBD78B7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1" name="Grafik 27">
                  <a:extLst>
                    <a:ext uri="{FF2B5EF4-FFF2-40B4-BE49-F238E27FC236}">
                      <a16:creationId xmlns:a16="http://schemas.microsoft.com/office/drawing/2014/main" id="{12B6313E-962F-819F-9848-F4A7BDF65073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2" name="Grafik 27">
                <a:extLst>
                  <a:ext uri="{FF2B5EF4-FFF2-40B4-BE49-F238E27FC236}">
                    <a16:creationId xmlns:a16="http://schemas.microsoft.com/office/drawing/2014/main" id="{B38F4DCE-CF8F-0B47-80B6-823A25999C55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126" name="Grafik 27">
                  <a:extLst>
                    <a:ext uri="{FF2B5EF4-FFF2-40B4-BE49-F238E27FC236}">
                      <a16:creationId xmlns:a16="http://schemas.microsoft.com/office/drawing/2014/main" id="{8A14027B-24A8-61F7-4DFE-FAE2D2979105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7" name="Grafik 27">
                  <a:extLst>
                    <a:ext uri="{FF2B5EF4-FFF2-40B4-BE49-F238E27FC236}">
                      <a16:creationId xmlns:a16="http://schemas.microsoft.com/office/drawing/2014/main" id="{CA065266-1B8E-CB63-BBDB-323B0A9D52A4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8" name="Grafik 27">
                  <a:extLst>
                    <a:ext uri="{FF2B5EF4-FFF2-40B4-BE49-F238E27FC236}">
                      <a16:creationId xmlns:a16="http://schemas.microsoft.com/office/drawing/2014/main" id="{50BC0636-5219-B6A3-9159-24514ED6206C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3" name="Grafik 27">
                <a:extLst>
                  <a:ext uri="{FF2B5EF4-FFF2-40B4-BE49-F238E27FC236}">
                    <a16:creationId xmlns:a16="http://schemas.microsoft.com/office/drawing/2014/main" id="{BAAF1C4E-7AAB-BC17-E0F8-50529A83F610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123" name="Grafik 27">
                  <a:extLst>
                    <a:ext uri="{FF2B5EF4-FFF2-40B4-BE49-F238E27FC236}">
                      <a16:creationId xmlns:a16="http://schemas.microsoft.com/office/drawing/2014/main" id="{D410C7B2-48EF-F008-0866-36D7BC30ECEF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4" name="Grafik 27">
                  <a:extLst>
                    <a:ext uri="{FF2B5EF4-FFF2-40B4-BE49-F238E27FC236}">
                      <a16:creationId xmlns:a16="http://schemas.microsoft.com/office/drawing/2014/main" id="{4A3FE689-8837-7668-585D-76FB24D89860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5" name="Grafik 27">
                  <a:extLst>
                    <a:ext uri="{FF2B5EF4-FFF2-40B4-BE49-F238E27FC236}">
                      <a16:creationId xmlns:a16="http://schemas.microsoft.com/office/drawing/2014/main" id="{F6E98553-9A60-33CC-E96F-FDE1E09A4412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4" name="Grafik 27">
                <a:extLst>
                  <a:ext uri="{FF2B5EF4-FFF2-40B4-BE49-F238E27FC236}">
                    <a16:creationId xmlns:a16="http://schemas.microsoft.com/office/drawing/2014/main" id="{76602D4F-17C4-121B-00C1-16C558D2A58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120" name="Grafik 27">
                  <a:extLst>
                    <a:ext uri="{FF2B5EF4-FFF2-40B4-BE49-F238E27FC236}">
                      <a16:creationId xmlns:a16="http://schemas.microsoft.com/office/drawing/2014/main" id="{07AB64E2-07E5-CAFB-1173-91D45651EF8F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1" name="Grafik 27">
                  <a:extLst>
                    <a:ext uri="{FF2B5EF4-FFF2-40B4-BE49-F238E27FC236}">
                      <a16:creationId xmlns:a16="http://schemas.microsoft.com/office/drawing/2014/main" id="{C762833F-09A9-58AD-8E74-006E3695F283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2" name="Grafik 27">
                  <a:extLst>
                    <a:ext uri="{FF2B5EF4-FFF2-40B4-BE49-F238E27FC236}">
                      <a16:creationId xmlns:a16="http://schemas.microsoft.com/office/drawing/2014/main" id="{6FA3FDAB-6F3A-1CCC-59F7-A2A403733F00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5" name="Grafik 27">
                <a:extLst>
                  <a:ext uri="{FF2B5EF4-FFF2-40B4-BE49-F238E27FC236}">
                    <a16:creationId xmlns:a16="http://schemas.microsoft.com/office/drawing/2014/main" id="{5D9F761A-961E-1374-6004-DDB1A79510A6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117" name="Grafik 27">
                  <a:extLst>
                    <a:ext uri="{FF2B5EF4-FFF2-40B4-BE49-F238E27FC236}">
                      <a16:creationId xmlns:a16="http://schemas.microsoft.com/office/drawing/2014/main" id="{7CF2E599-C271-88E4-9C41-D11075BD3605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8" name="Grafik 27">
                  <a:extLst>
                    <a:ext uri="{FF2B5EF4-FFF2-40B4-BE49-F238E27FC236}">
                      <a16:creationId xmlns:a16="http://schemas.microsoft.com/office/drawing/2014/main" id="{52A9F698-69BF-65D7-CB33-38D0CF85CB3B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9" name="Grafik 27">
                  <a:extLst>
                    <a:ext uri="{FF2B5EF4-FFF2-40B4-BE49-F238E27FC236}">
                      <a16:creationId xmlns:a16="http://schemas.microsoft.com/office/drawing/2014/main" id="{636C6F1E-2001-561B-CB92-D0A657E7E992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16" name="Grafik 27">
                <a:extLst>
                  <a:ext uri="{FF2B5EF4-FFF2-40B4-BE49-F238E27FC236}">
                    <a16:creationId xmlns:a16="http://schemas.microsoft.com/office/drawing/2014/main" id="{20ADDE3D-4F24-DF2B-B3AB-FBDAC5257DC3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C0448A-3920-890A-437F-FBDF6D7E97AD}"/>
              </a:ext>
            </a:extLst>
          </p:cNvPr>
          <p:cNvGrpSpPr/>
          <p:nvPr/>
        </p:nvGrpSpPr>
        <p:grpSpPr>
          <a:xfrm>
            <a:off x="6876655" y="1140362"/>
            <a:ext cx="500062" cy="406400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147" name="Freeform 195">
              <a:extLst>
                <a:ext uri="{FF2B5EF4-FFF2-40B4-BE49-F238E27FC236}">
                  <a16:creationId xmlns:a16="http://schemas.microsoft.com/office/drawing/2014/main" id="{FFFEFACA-5B37-A888-FF20-430C6E98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8" name="Freeform 196">
              <a:extLst>
                <a:ext uri="{FF2B5EF4-FFF2-40B4-BE49-F238E27FC236}">
                  <a16:creationId xmlns:a16="http://schemas.microsoft.com/office/drawing/2014/main" id="{7E4FFC05-A5B6-1F53-3674-0DAB88E6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9" name="Freeform 197">
              <a:extLst>
                <a:ext uri="{FF2B5EF4-FFF2-40B4-BE49-F238E27FC236}">
                  <a16:creationId xmlns:a16="http://schemas.microsoft.com/office/drawing/2014/main" id="{4A13F26F-6CED-042B-F024-752A85EC0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0" name="Freeform 198">
              <a:extLst>
                <a:ext uri="{FF2B5EF4-FFF2-40B4-BE49-F238E27FC236}">
                  <a16:creationId xmlns:a16="http://schemas.microsoft.com/office/drawing/2014/main" id="{11C78C8B-C7C6-C50E-CB81-B3D7A7E57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1" name="Freeform 199">
              <a:extLst>
                <a:ext uri="{FF2B5EF4-FFF2-40B4-BE49-F238E27FC236}">
                  <a16:creationId xmlns:a16="http://schemas.microsoft.com/office/drawing/2014/main" id="{535BBEC5-75D0-B5DA-681A-827787332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2" name="Freeform 200">
              <a:extLst>
                <a:ext uri="{FF2B5EF4-FFF2-40B4-BE49-F238E27FC236}">
                  <a16:creationId xmlns:a16="http://schemas.microsoft.com/office/drawing/2014/main" id="{0BB6D32A-CDA4-F862-EAFC-6E25FCF01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3" name="Freeform 201">
              <a:extLst>
                <a:ext uri="{FF2B5EF4-FFF2-40B4-BE49-F238E27FC236}">
                  <a16:creationId xmlns:a16="http://schemas.microsoft.com/office/drawing/2014/main" id="{9B652DED-4EB8-0B32-947A-CE43FDA7A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4" name="Freeform 202">
              <a:extLst>
                <a:ext uri="{FF2B5EF4-FFF2-40B4-BE49-F238E27FC236}">
                  <a16:creationId xmlns:a16="http://schemas.microsoft.com/office/drawing/2014/main" id="{0FC739EA-1709-AC13-7B04-CC2974E4C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grpSp>
        <p:nvGrpSpPr>
          <p:cNvPr id="155" name="Grafik 3933">
            <a:extLst>
              <a:ext uri="{FF2B5EF4-FFF2-40B4-BE49-F238E27FC236}">
                <a16:creationId xmlns:a16="http://schemas.microsoft.com/office/drawing/2014/main" id="{3F35C556-4FCA-117D-070A-C7C02E992690}"/>
              </a:ext>
            </a:extLst>
          </p:cNvPr>
          <p:cNvGrpSpPr>
            <a:grpSpLocks noChangeAspect="1"/>
          </p:cNvGrpSpPr>
          <p:nvPr/>
        </p:nvGrpSpPr>
        <p:grpSpPr>
          <a:xfrm>
            <a:off x="7889395" y="1162089"/>
            <a:ext cx="500348" cy="338328"/>
            <a:chOff x="5843587" y="3257550"/>
            <a:chExt cx="500348" cy="338328"/>
          </a:xfrm>
          <a:solidFill>
            <a:schemeClr val="accent1">
              <a:lumMod val="75000"/>
            </a:schemeClr>
          </a:solidFill>
        </p:grpSpPr>
        <p:sp>
          <p:nvSpPr>
            <p:cNvPr id="156" name="Freihandform: Form 4287">
              <a:extLst>
                <a:ext uri="{FF2B5EF4-FFF2-40B4-BE49-F238E27FC236}">
                  <a16:creationId xmlns:a16="http://schemas.microsoft.com/office/drawing/2014/main" id="{AE3F28B2-9B04-1975-9C73-C6E66B9D7183}"/>
                </a:ext>
              </a:extLst>
            </p:cNvPr>
            <p:cNvSpPr/>
            <p:nvPr/>
          </p:nvSpPr>
          <p:spPr>
            <a:xfrm>
              <a:off x="5892164" y="3257550"/>
              <a:ext cx="403097" cy="273462"/>
            </a:xfrm>
            <a:custGeom>
              <a:avLst/>
              <a:gdLst>
                <a:gd name="connsiteX0" fmla="*/ 395954 w 403097"/>
                <a:gd name="connsiteY0" fmla="*/ 273463 h 273462"/>
                <a:gd name="connsiteX1" fmla="*/ 7144 w 403097"/>
                <a:gd name="connsiteY1" fmla="*/ 273463 h 273462"/>
                <a:gd name="connsiteX2" fmla="*/ 0 w 403097"/>
                <a:gd name="connsiteY2" fmla="*/ 266319 h 273462"/>
                <a:gd name="connsiteX3" fmla="*/ 0 w 403097"/>
                <a:gd name="connsiteY3" fmla="*/ 34100 h 273462"/>
                <a:gd name="connsiteX4" fmla="*/ 34195 w 403097"/>
                <a:gd name="connsiteY4" fmla="*/ 0 h 273462"/>
                <a:gd name="connsiteX5" fmla="*/ 368999 w 403097"/>
                <a:gd name="connsiteY5" fmla="*/ 0 h 273462"/>
                <a:gd name="connsiteX6" fmla="*/ 403098 w 403097"/>
                <a:gd name="connsiteY6" fmla="*/ 34100 h 273462"/>
                <a:gd name="connsiteX7" fmla="*/ 403098 w 403097"/>
                <a:gd name="connsiteY7" fmla="*/ 266319 h 273462"/>
                <a:gd name="connsiteX8" fmla="*/ 395954 w 403097"/>
                <a:gd name="connsiteY8" fmla="*/ 273463 h 273462"/>
                <a:gd name="connsiteX9" fmla="*/ 14288 w 403097"/>
                <a:gd name="connsiteY9" fmla="*/ 259175 h 273462"/>
                <a:gd name="connsiteX10" fmla="*/ 388810 w 403097"/>
                <a:gd name="connsiteY10" fmla="*/ 259175 h 273462"/>
                <a:gd name="connsiteX11" fmla="*/ 388810 w 403097"/>
                <a:gd name="connsiteY11" fmla="*/ 34100 h 273462"/>
                <a:gd name="connsiteX12" fmla="*/ 368999 w 403097"/>
                <a:gd name="connsiteY12" fmla="*/ 14288 h 273462"/>
                <a:gd name="connsiteX13" fmla="*/ 34195 w 403097"/>
                <a:gd name="connsiteY13" fmla="*/ 14288 h 273462"/>
                <a:gd name="connsiteX14" fmla="*/ 14288 w 403097"/>
                <a:gd name="connsiteY14" fmla="*/ 34100 h 273462"/>
                <a:gd name="connsiteX15" fmla="*/ 14288 w 403097"/>
                <a:gd name="connsiteY15" fmla="*/ 259175 h 2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3097" h="273462">
                  <a:moveTo>
                    <a:pt x="395954" y="273463"/>
                  </a:moveTo>
                  <a:lnTo>
                    <a:pt x="7144" y="273463"/>
                  </a:lnTo>
                  <a:cubicBezTo>
                    <a:pt x="3239" y="273463"/>
                    <a:pt x="0" y="270224"/>
                    <a:pt x="0" y="266319"/>
                  </a:cubicBezTo>
                  <a:lnTo>
                    <a:pt x="0" y="34100"/>
                  </a:lnTo>
                  <a:cubicBezTo>
                    <a:pt x="0" y="15335"/>
                    <a:pt x="15335" y="0"/>
                    <a:pt x="34195" y="0"/>
                  </a:cubicBezTo>
                  <a:lnTo>
                    <a:pt x="368999" y="0"/>
                  </a:lnTo>
                  <a:cubicBezTo>
                    <a:pt x="387858" y="0"/>
                    <a:pt x="403098" y="15335"/>
                    <a:pt x="403098" y="34100"/>
                  </a:cubicBezTo>
                  <a:lnTo>
                    <a:pt x="403098" y="266319"/>
                  </a:lnTo>
                  <a:cubicBezTo>
                    <a:pt x="403098" y="270320"/>
                    <a:pt x="399955" y="273463"/>
                    <a:pt x="395954" y="273463"/>
                  </a:cubicBezTo>
                  <a:close/>
                  <a:moveTo>
                    <a:pt x="14288" y="259175"/>
                  </a:moveTo>
                  <a:lnTo>
                    <a:pt x="388810" y="259175"/>
                  </a:lnTo>
                  <a:lnTo>
                    <a:pt x="388810" y="34100"/>
                  </a:lnTo>
                  <a:cubicBezTo>
                    <a:pt x="388810" y="23146"/>
                    <a:pt x="379857" y="14288"/>
                    <a:pt x="368999" y="14288"/>
                  </a:cubicBezTo>
                  <a:lnTo>
                    <a:pt x="34195" y="14288"/>
                  </a:lnTo>
                  <a:cubicBezTo>
                    <a:pt x="23241" y="14288"/>
                    <a:pt x="14288" y="23241"/>
                    <a:pt x="14288" y="34100"/>
                  </a:cubicBezTo>
                  <a:lnTo>
                    <a:pt x="14288" y="2591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57" name="Freihandform: Form 4288">
              <a:extLst>
                <a:ext uri="{FF2B5EF4-FFF2-40B4-BE49-F238E27FC236}">
                  <a16:creationId xmlns:a16="http://schemas.microsoft.com/office/drawing/2014/main" id="{AE91ABA3-7BE6-798B-5503-B64090F7B9B1}"/>
                </a:ext>
              </a:extLst>
            </p:cNvPr>
            <p:cNvSpPr/>
            <p:nvPr/>
          </p:nvSpPr>
          <p:spPr>
            <a:xfrm>
              <a:off x="5843587" y="3549110"/>
              <a:ext cx="500348" cy="46767"/>
            </a:xfrm>
            <a:custGeom>
              <a:avLst/>
              <a:gdLst>
                <a:gd name="connsiteX0" fmla="*/ 479679 w 500348"/>
                <a:gd name="connsiteY0" fmla="*/ 46768 h 46767"/>
                <a:gd name="connsiteX1" fmla="*/ 20669 w 500348"/>
                <a:gd name="connsiteY1" fmla="*/ 46768 h 46767"/>
                <a:gd name="connsiteX2" fmla="*/ 0 w 500348"/>
                <a:gd name="connsiteY2" fmla="*/ 26098 h 46767"/>
                <a:gd name="connsiteX3" fmla="*/ 0 w 500348"/>
                <a:gd name="connsiteY3" fmla="*/ 20669 h 46767"/>
                <a:gd name="connsiteX4" fmla="*/ 20669 w 500348"/>
                <a:gd name="connsiteY4" fmla="*/ 0 h 46767"/>
                <a:gd name="connsiteX5" fmla="*/ 479679 w 500348"/>
                <a:gd name="connsiteY5" fmla="*/ 0 h 46767"/>
                <a:gd name="connsiteX6" fmla="*/ 500348 w 500348"/>
                <a:gd name="connsiteY6" fmla="*/ 20669 h 46767"/>
                <a:gd name="connsiteX7" fmla="*/ 500348 w 500348"/>
                <a:gd name="connsiteY7" fmla="*/ 26098 h 46767"/>
                <a:gd name="connsiteX8" fmla="*/ 479679 w 500348"/>
                <a:gd name="connsiteY8" fmla="*/ 46768 h 46767"/>
                <a:gd name="connsiteX9" fmla="*/ 20669 w 500348"/>
                <a:gd name="connsiteY9" fmla="*/ 14288 h 46767"/>
                <a:gd name="connsiteX10" fmla="*/ 14288 w 500348"/>
                <a:gd name="connsiteY10" fmla="*/ 20669 h 46767"/>
                <a:gd name="connsiteX11" fmla="*/ 14288 w 500348"/>
                <a:gd name="connsiteY11" fmla="*/ 26098 h 46767"/>
                <a:gd name="connsiteX12" fmla="*/ 20669 w 500348"/>
                <a:gd name="connsiteY12" fmla="*/ 32480 h 46767"/>
                <a:gd name="connsiteX13" fmla="*/ 479679 w 500348"/>
                <a:gd name="connsiteY13" fmla="*/ 32480 h 46767"/>
                <a:gd name="connsiteX14" fmla="*/ 486061 w 500348"/>
                <a:gd name="connsiteY14" fmla="*/ 26098 h 46767"/>
                <a:gd name="connsiteX15" fmla="*/ 486061 w 500348"/>
                <a:gd name="connsiteY15" fmla="*/ 20669 h 46767"/>
                <a:gd name="connsiteX16" fmla="*/ 479679 w 500348"/>
                <a:gd name="connsiteY16" fmla="*/ 14288 h 46767"/>
                <a:gd name="connsiteX17" fmla="*/ 20669 w 500348"/>
                <a:gd name="connsiteY17" fmla="*/ 14288 h 4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0348" h="46767">
                  <a:moveTo>
                    <a:pt x="479679" y="46768"/>
                  </a:moveTo>
                  <a:lnTo>
                    <a:pt x="20669" y="46768"/>
                  </a:lnTo>
                  <a:cubicBezTo>
                    <a:pt x="9239" y="46768"/>
                    <a:pt x="0" y="37528"/>
                    <a:pt x="0" y="26098"/>
                  </a:cubicBezTo>
                  <a:lnTo>
                    <a:pt x="0" y="20669"/>
                  </a:lnTo>
                  <a:cubicBezTo>
                    <a:pt x="0" y="9239"/>
                    <a:pt x="9239" y="0"/>
                    <a:pt x="20669" y="0"/>
                  </a:cubicBezTo>
                  <a:lnTo>
                    <a:pt x="479679" y="0"/>
                  </a:lnTo>
                  <a:cubicBezTo>
                    <a:pt x="491109" y="0"/>
                    <a:pt x="500348" y="9239"/>
                    <a:pt x="500348" y="20669"/>
                  </a:cubicBezTo>
                  <a:lnTo>
                    <a:pt x="500348" y="26098"/>
                  </a:lnTo>
                  <a:cubicBezTo>
                    <a:pt x="500253" y="37433"/>
                    <a:pt x="491014" y="46768"/>
                    <a:pt x="479679" y="46768"/>
                  </a:cubicBezTo>
                  <a:close/>
                  <a:moveTo>
                    <a:pt x="20669" y="14288"/>
                  </a:moveTo>
                  <a:cubicBezTo>
                    <a:pt x="17145" y="14288"/>
                    <a:pt x="14288" y="17145"/>
                    <a:pt x="14288" y="20669"/>
                  </a:cubicBezTo>
                  <a:lnTo>
                    <a:pt x="14288" y="26098"/>
                  </a:lnTo>
                  <a:cubicBezTo>
                    <a:pt x="14288" y="29623"/>
                    <a:pt x="17145" y="32480"/>
                    <a:pt x="20669" y="32480"/>
                  </a:cubicBezTo>
                  <a:lnTo>
                    <a:pt x="479679" y="32480"/>
                  </a:lnTo>
                  <a:cubicBezTo>
                    <a:pt x="483203" y="32480"/>
                    <a:pt x="486061" y="29623"/>
                    <a:pt x="486061" y="26098"/>
                  </a:cubicBezTo>
                  <a:lnTo>
                    <a:pt x="486061" y="20669"/>
                  </a:lnTo>
                  <a:cubicBezTo>
                    <a:pt x="486061" y="17145"/>
                    <a:pt x="483203" y="14288"/>
                    <a:pt x="479679" y="14288"/>
                  </a:cubicBezTo>
                  <a:lnTo>
                    <a:pt x="20669" y="1428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grpSp>
          <p:nvGrpSpPr>
            <p:cNvPr id="158" name="Grafik 3933">
              <a:extLst>
                <a:ext uri="{FF2B5EF4-FFF2-40B4-BE49-F238E27FC236}">
                  <a16:creationId xmlns:a16="http://schemas.microsoft.com/office/drawing/2014/main" id="{528D7C8A-ED01-F43D-6376-60FFA81E6C26}"/>
                </a:ext>
              </a:extLst>
            </p:cNvPr>
            <p:cNvGrpSpPr/>
            <p:nvPr/>
          </p:nvGrpSpPr>
          <p:grpSpPr>
            <a:xfrm>
              <a:off x="6005607" y="3306127"/>
              <a:ext cx="176307" cy="176307"/>
              <a:chOff x="6005607" y="3306127"/>
              <a:chExt cx="176307" cy="176307"/>
            </a:xfrm>
            <a:grpFill/>
          </p:grpSpPr>
          <p:sp>
            <p:nvSpPr>
              <p:cNvPr id="159" name="Freihandform: Form 4290">
                <a:extLst>
                  <a:ext uri="{FF2B5EF4-FFF2-40B4-BE49-F238E27FC236}">
                    <a16:creationId xmlns:a16="http://schemas.microsoft.com/office/drawing/2014/main" id="{EA338D02-26A1-24E4-186B-F5F5B6E4A3F4}"/>
                  </a:ext>
                </a:extLst>
              </p:cNvPr>
              <p:cNvSpPr/>
              <p:nvPr/>
            </p:nvSpPr>
            <p:spPr>
              <a:xfrm>
                <a:off x="6005607" y="3306222"/>
                <a:ext cx="176212" cy="176212"/>
              </a:xfrm>
              <a:custGeom>
                <a:avLst/>
                <a:gdLst>
                  <a:gd name="connsiteX0" fmla="*/ 88106 w 176212"/>
                  <a:gd name="connsiteY0" fmla="*/ 176213 h 176212"/>
                  <a:gd name="connsiteX1" fmla="*/ 0 w 176212"/>
                  <a:gd name="connsiteY1" fmla="*/ 88106 h 176212"/>
                  <a:gd name="connsiteX2" fmla="*/ 88106 w 176212"/>
                  <a:gd name="connsiteY2" fmla="*/ 0 h 176212"/>
                  <a:gd name="connsiteX3" fmla="*/ 176212 w 176212"/>
                  <a:gd name="connsiteY3" fmla="*/ 88106 h 176212"/>
                  <a:gd name="connsiteX4" fmla="*/ 88106 w 176212"/>
                  <a:gd name="connsiteY4" fmla="*/ 176213 h 176212"/>
                  <a:gd name="connsiteX5" fmla="*/ 88106 w 176212"/>
                  <a:gd name="connsiteY5" fmla="*/ 14192 h 176212"/>
                  <a:gd name="connsiteX6" fmla="*/ 14288 w 176212"/>
                  <a:gd name="connsiteY6" fmla="*/ 88011 h 176212"/>
                  <a:gd name="connsiteX7" fmla="*/ 88106 w 176212"/>
                  <a:gd name="connsiteY7" fmla="*/ 161830 h 176212"/>
                  <a:gd name="connsiteX8" fmla="*/ 161925 w 176212"/>
                  <a:gd name="connsiteY8" fmla="*/ 88011 h 176212"/>
                  <a:gd name="connsiteX9" fmla="*/ 88106 w 176212"/>
                  <a:gd name="connsiteY9" fmla="*/ 14192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176212">
                    <a:moveTo>
                      <a:pt x="88106" y="176213"/>
                    </a:moveTo>
                    <a:cubicBezTo>
                      <a:pt x="39529" y="176213"/>
                      <a:pt x="0" y="136684"/>
                      <a:pt x="0" y="88106"/>
                    </a:cubicBezTo>
                    <a:cubicBezTo>
                      <a:pt x="0" y="39529"/>
                      <a:pt x="39529" y="0"/>
                      <a:pt x="88106" y="0"/>
                    </a:cubicBezTo>
                    <a:cubicBezTo>
                      <a:pt x="136684" y="0"/>
                      <a:pt x="176212" y="39529"/>
                      <a:pt x="176212" y="88106"/>
                    </a:cubicBezTo>
                    <a:cubicBezTo>
                      <a:pt x="176212" y="136684"/>
                      <a:pt x="136684" y="176213"/>
                      <a:pt x="88106" y="176213"/>
                    </a:cubicBezTo>
                    <a:close/>
                    <a:moveTo>
                      <a:pt x="88106" y="14192"/>
                    </a:moveTo>
                    <a:cubicBezTo>
                      <a:pt x="47339" y="14192"/>
                      <a:pt x="14288" y="47339"/>
                      <a:pt x="14288" y="88011"/>
                    </a:cubicBezTo>
                    <a:cubicBezTo>
                      <a:pt x="14288" y="128683"/>
                      <a:pt x="47434" y="161830"/>
                      <a:pt x="88106" y="161830"/>
                    </a:cubicBezTo>
                    <a:cubicBezTo>
                      <a:pt x="128778" y="161830"/>
                      <a:pt x="161925" y="128683"/>
                      <a:pt x="161925" y="88011"/>
                    </a:cubicBezTo>
                    <a:cubicBezTo>
                      <a:pt x="161925" y="47339"/>
                      <a:pt x="128873" y="14192"/>
                      <a:pt x="88106" y="14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0" name="Freihandform: Form 4291">
                <a:extLst>
                  <a:ext uri="{FF2B5EF4-FFF2-40B4-BE49-F238E27FC236}">
                    <a16:creationId xmlns:a16="http://schemas.microsoft.com/office/drawing/2014/main" id="{2125B678-5357-2CFE-A724-E1943A13554D}"/>
                  </a:ext>
                </a:extLst>
              </p:cNvPr>
              <p:cNvSpPr/>
              <p:nvPr/>
            </p:nvSpPr>
            <p:spPr>
              <a:xfrm>
                <a:off x="6039706" y="3306190"/>
                <a:ext cx="61182" cy="176244"/>
              </a:xfrm>
              <a:custGeom>
                <a:avLst/>
                <a:gdLst>
                  <a:gd name="connsiteX0" fmla="*/ 54007 w 61182"/>
                  <a:gd name="connsiteY0" fmla="*/ 176244 h 176244"/>
                  <a:gd name="connsiteX1" fmla="*/ 50387 w 61182"/>
                  <a:gd name="connsiteY1" fmla="*/ 175292 h 176244"/>
                  <a:gd name="connsiteX2" fmla="*/ 0 w 61182"/>
                  <a:gd name="connsiteY2" fmla="*/ 88138 h 176244"/>
                  <a:gd name="connsiteX3" fmla="*/ 50387 w 61182"/>
                  <a:gd name="connsiteY3" fmla="*/ 984 h 176244"/>
                  <a:gd name="connsiteX4" fmla="*/ 60198 w 61182"/>
                  <a:gd name="connsiteY4" fmla="*/ 3556 h 176244"/>
                  <a:gd name="connsiteX5" fmla="*/ 57626 w 61182"/>
                  <a:gd name="connsiteY5" fmla="*/ 13272 h 176244"/>
                  <a:gd name="connsiteX6" fmla="*/ 14383 w 61182"/>
                  <a:gd name="connsiteY6" fmla="*/ 88043 h 176244"/>
                  <a:gd name="connsiteX7" fmla="*/ 57626 w 61182"/>
                  <a:gd name="connsiteY7" fmla="*/ 162814 h 176244"/>
                  <a:gd name="connsiteX8" fmla="*/ 60198 w 61182"/>
                  <a:gd name="connsiteY8" fmla="*/ 172530 h 176244"/>
                  <a:gd name="connsiteX9" fmla="*/ 54007 w 61182"/>
                  <a:gd name="connsiteY9" fmla="*/ 176244 h 17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244">
                    <a:moveTo>
                      <a:pt x="54007" y="176244"/>
                    </a:moveTo>
                    <a:cubicBezTo>
                      <a:pt x="52768" y="176244"/>
                      <a:pt x="51530" y="175959"/>
                      <a:pt x="50387" y="175292"/>
                    </a:cubicBezTo>
                    <a:cubicBezTo>
                      <a:pt x="19336" y="157290"/>
                      <a:pt x="0" y="123857"/>
                      <a:pt x="0" y="88138"/>
                    </a:cubicBezTo>
                    <a:cubicBezTo>
                      <a:pt x="0" y="52419"/>
                      <a:pt x="19336" y="18987"/>
                      <a:pt x="50387" y="984"/>
                    </a:cubicBezTo>
                    <a:cubicBezTo>
                      <a:pt x="53816" y="-1016"/>
                      <a:pt x="58198" y="127"/>
                      <a:pt x="60198" y="3556"/>
                    </a:cubicBezTo>
                    <a:cubicBezTo>
                      <a:pt x="62198" y="6890"/>
                      <a:pt x="61055" y="11271"/>
                      <a:pt x="57626" y="13272"/>
                    </a:cubicBezTo>
                    <a:cubicBezTo>
                      <a:pt x="30956" y="28702"/>
                      <a:pt x="14383" y="57372"/>
                      <a:pt x="14383" y="88043"/>
                    </a:cubicBezTo>
                    <a:cubicBezTo>
                      <a:pt x="14383" y="118713"/>
                      <a:pt x="30956" y="147384"/>
                      <a:pt x="57626" y="162814"/>
                    </a:cubicBezTo>
                    <a:cubicBezTo>
                      <a:pt x="61055" y="164814"/>
                      <a:pt x="62198" y="169196"/>
                      <a:pt x="60198" y="172530"/>
                    </a:cubicBezTo>
                    <a:cubicBezTo>
                      <a:pt x="58865" y="175006"/>
                      <a:pt x="56483" y="176244"/>
                      <a:pt x="54007" y="1762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1" name="Freihandform: Form 4292">
                <a:extLst>
                  <a:ext uri="{FF2B5EF4-FFF2-40B4-BE49-F238E27FC236}">
                    <a16:creationId xmlns:a16="http://schemas.microsoft.com/office/drawing/2014/main" id="{9A9FF5B0-31B0-25CD-C460-3AD78CC73AAF}"/>
                  </a:ext>
                </a:extLst>
              </p:cNvPr>
              <p:cNvSpPr/>
              <p:nvPr/>
            </p:nvSpPr>
            <p:spPr>
              <a:xfrm>
                <a:off x="6086538" y="3306381"/>
                <a:ext cx="61182" cy="176053"/>
              </a:xfrm>
              <a:custGeom>
                <a:avLst/>
                <a:gdLst>
                  <a:gd name="connsiteX0" fmla="*/ 7176 w 61182"/>
                  <a:gd name="connsiteY0" fmla="*/ 176054 h 176053"/>
                  <a:gd name="connsiteX1" fmla="*/ 984 w 61182"/>
                  <a:gd name="connsiteY1" fmla="*/ 172530 h 176053"/>
                  <a:gd name="connsiteX2" fmla="*/ 3556 w 61182"/>
                  <a:gd name="connsiteY2" fmla="*/ 162814 h 176053"/>
                  <a:gd name="connsiteX3" fmla="*/ 46800 w 61182"/>
                  <a:gd name="connsiteY3" fmla="*/ 88043 h 176053"/>
                  <a:gd name="connsiteX4" fmla="*/ 3556 w 61182"/>
                  <a:gd name="connsiteY4" fmla="*/ 13272 h 176053"/>
                  <a:gd name="connsiteX5" fmla="*/ 984 w 61182"/>
                  <a:gd name="connsiteY5" fmla="*/ 3556 h 176053"/>
                  <a:gd name="connsiteX6" fmla="*/ 10795 w 61182"/>
                  <a:gd name="connsiteY6" fmla="*/ 984 h 176053"/>
                  <a:gd name="connsiteX7" fmla="*/ 61182 w 61182"/>
                  <a:gd name="connsiteY7" fmla="*/ 88138 h 176053"/>
                  <a:gd name="connsiteX8" fmla="*/ 10795 w 61182"/>
                  <a:gd name="connsiteY8" fmla="*/ 175292 h 176053"/>
                  <a:gd name="connsiteX9" fmla="*/ 7176 w 61182"/>
                  <a:gd name="connsiteY9" fmla="*/ 176054 h 17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053">
                    <a:moveTo>
                      <a:pt x="7176" y="176054"/>
                    </a:moveTo>
                    <a:cubicBezTo>
                      <a:pt x="4699" y="176054"/>
                      <a:pt x="2318" y="174816"/>
                      <a:pt x="984" y="172530"/>
                    </a:cubicBezTo>
                    <a:cubicBezTo>
                      <a:pt x="-1016" y="169101"/>
                      <a:pt x="222" y="164719"/>
                      <a:pt x="3556" y="162814"/>
                    </a:cubicBezTo>
                    <a:cubicBezTo>
                      <a:pt x="30226" y="147384"/>
                      <a:pt x="46800" y="118713"/>
                      <a:pt x="46800" y="88043"/>
                    </a:cubicBezTo>
                    <a:cubicBezTo>
                      <a:pt x="46800" y="57372"/>
                      <a:pt x="30226" y="28702"/>
                      <a:pt x="3556" y="13272"/>
                    </a:cubicBezTo>
                    <a:cubicBezTo>
                      <a:pt x="127" y="11271"/>
                      <a:pt x="-1016" y="6890"/>
                      <a:pt x="984" y="3556"/>
                    </a:cubicBezTo>
                    <a:cubicBezTo>
                      <a:pt x="2984" y="127"/>
                      <a:pt x="7366" y="-1016"/>
                      <a:pt x="10795" y="984"/>
                    </a:cubicBezTo>
                    <a:cubicBezTo>
                      <a:pt x="41846" y="18987"/>
                      <a:pt x="61182" y="52419"/>
                      <a:pt x="61182" y="88138"/>
                    </a:cubicBezTo>
                    <a:cubicBezTo>
                      <a:pt x="61182" y="123857"/>
                      <a:pt x="41846" y="157290"/>
                      <a:pt x="10795" y="175292"/>
                    </a:cubicBezTo>
                    <a:cubicBezTo>
                      <a:pt x="9652" y="175768"/>
                      <a:pt x="8414" y="176054"/>
                      <a:pt x="7176" y="1760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2" name="Freihandform: Form 4293">
                <a:extLst>
                  <a:ext uri="{FF2B5EF4-FFF2-40B4-BE49-F238E27FC236}">
                    <a16:creationId xmlns:a16="http://schemas.microsoft.com/office/drawing/2014/main" id="{4EDEF7CA-49B4-92AE-9192-F64D1208F3A8}"/>
                  </a:ext>
                </a:extLst>
              </p:cNvPr>
              <p:cNvSpPr/>
              <p:nvPr/>
            </p:nvSpPr>
            <p:spPr>
              <a:xfrm>
                <a:off x="6027373" y="3331799"/>
                <a:ext cx="132830" cy="35478"/>
              </a:xfrm>
              <a:custGeom>
                <a:avLst/>
                <a:gdLst>
                  <a:gd name="connsiteX0" fmla="*/ 66340 w 132830"/>
                  <a:gd name="connsiteY0" fmla="*/ 35479 h 35478"/>
                  <a:gd name="connsiteX1" fmla="*/ 2618 w 132830"/>
                  <a:gd name="connsiteY1" fmla="*/ 12714 h 35478"/>
                  <a:gd name="connsiteX2" fmla="*/ 1665 w 132830"/>
                  <a:gd name="connsiteY2" fmla="*/ 2618 h 35478"/>
                  <a:gd name="connsiteX3" fmla="*/ 11762 w 132830"/>
                  <a:gd name="connsiteY3" fmla="*/ 1665 h 35478"/>
                  <a:gd name="connsiteX4" fmla="*/ 66435 w 132830"/>
                  <a:gd name="connsiteY4" fmla="*/ 21191 h 35478"/>
                  <a:gd name="connsiteX5" fmla="*/ 121109 w 132830"/>
                  <a:gd name="connsiteY5" fmla="*/ 1665 h 35478"/>
                  <a:gd name="connsiteX6" fmla="*/ 131205 w 132830"/>
                  <a:gd name="connsiteY6" fmla="*/ 2618 h 35478"/>
                  <a:gd name="connsiteX7" fmla="*/ 130253 w 132830"/>
                  <a:gd name="connsiteY7" fmla="*/ 12714 h 35478"/>
                  <a:gd name="connsiteX8" fmla="*/ 66340 w 132830"/>
                  <a:gd name="connsiteY8" fmla="*/ 35479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830" h="35478">
                    <a:moveTo>
                      <a:pt x="66340" y="35479"/>
                    </a:moveTo>
                    <a:cubicBezTo>
                      <a:pt x="43194" y="35479"/>
                      <a:pt x="20525" y="27383"/>
                      <a:pt x="2618" y="12714"/>
                    </a:cubicBezTo>
                    <a:cubicBezTo>
                      <a:pt x="-430" y="10238"/>
                      <a:pt x="-907" y="5666"/>
                      <a:pt x="1665" y="2618"/>
                    </a:cubicBezTo>
                    <a:cubicBezTo>
                      <a:pt x="4142" y="-430"/>
                      <a:pt x="8714" y="-907"/>
                      <a:pt x="11762" y="1665"/>
                    </a:cubicBezTo>
                    <a:cubicBezTo>
                      <a:pt x="27097" y="14238"/>
                      <a:pt x="46528" y="21191"/>
                      <a:pt x="66435" y="21191"/>
                    </a:cubicBezTo>
                    <a:cubicBezTo>
                      <a:pt x="86342" y="21191"/>
                      <a:pt x="105678" y="14238"/>
                      <a:pt x="121109" y="1665"/>
                    </a:cubicBezTo>
                    <a:cubicBezTo>
                      <a:pt x="124157" y="-811"/>
                      <a:pt x="128633" y="-430"/>
                      <a:pt x="131205" y="2618"/>
                    </a:cubicBezTo>
                    <a:cubicBezTo>
                      <a:pt x="133682" y="5666"/>
                      <a:pt x="133301" y="10142"/>
                      <a:pt x="130253" y="12714"/>
                    </a:cubicBezTo>
                    <a:cubicBezTo>
                      <a:pt x="112155" y="27383"/>
                      <a:pt x="89486" y="35479"/>
                      <a:pt x="66340" y="3547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3" name="Freihandform: Form 4294">
                <a:extLst>
                  <a:ext uri="{FF2B5EF4-FFF2-40B4-BE49-F238E27FC236}">
                    <a16:creationId xmlns:a16="http://schemas.microsoft.com/office/drawing/2014/main" id="{1BF976DD-77A3-9823-7E85-625CC6B8E13A}"/>
                  </a:ext>
                </a:extLst>
              </p:cNvPr>
              <p:cNvSpPr/>
              <p:nvPr/>
            </p:nvSpPr>
            <p:spPr>
              <a:xfrm>
                <a:off x="6027413" y="3421284"/>
                <a:ext cx="132640" cy="35478"/>
              </a:xfrm>
              <a:custGeom>
                <a:avLst/>
                <a:gdLst>
                  <a:gd name="connsiteX0" fmla="*/ 7150 w 132640"/>
                  <a:gd name="connsiteY0" fmla="*/ 35433 h 35478"/>
                  <a:gd name="connsiteX1" fmla="*/ 1626 w 132640"/>
                  <a:gd name="connsiteY1" fmla="*/ 32861 h 35478"/>
                  <a:gd name="connsiteX2" fmla="*/ 2578 w 132640"/>
                  <a:gd name="connsiteY2" fmla="*/ 22765 h 35478"/>
                  <a:gd name="connsiteX3" fmla="*/ 66300 w 132640"/>
                  <a:gd name="connsiteY3" fmla="*/ 0 h 35478"/>
                  <a:gd name="connsiteX4" fmla="*/ 130023 w 132640"/>
                  <a:gd name="connsiteY4" fmla="*/ 22765 h 35478"/>
                  <a:gd name="connsiteX5" fmla="*/ 130975 w 132640"/>
                  <a:gd name="connsiteY5" fmla="*/ 32861 h 35478"/>
                  <a:gd name="connsiteX6" fmla="*/ 120879 w 132640"/>
                  <a:gd name="connsiteY6" fmla="*/ 33814 h 35478"/>
                  <a:gd name="connsiteX7" fmla="*/ 66205 w 132640"/>
                  <a:gd name="connsiteY7" fmla="*/ 14288 h 35478"/>
                  <a:gd name="connsiteX8" fmla="*/ 11532 w 132640"/>
                  <a:gd name="connsiteY8" fmla="*/ 33814 h 35478"/>
                  <a:gd name="connsiteX9" fmla="*/ 7150 w 132640"/>
                  <a:gd name="connsiteY9" fmla="*/ 35433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640" h="35478">
                    <a:moveTo>
                      <a:pt x="7150" y="35433"/>
                    </a:moveTo>
                    <a:cubicBezTo>
                      <a:pt x="5055" y="35433"/>
                      <a:pt x="3054" y="34576"/>
                      <a:pt x="1626" y="32861"/>
                    </a:cubicBezTo>
                    <a:cubicBezTo>
                      <a:pt x="-851" y="29813"/>
                      <a:pt x="-470" y="25336"/>
                      <a:pt x="2578" y="22765"/>
                    </a:cubicBezTo>
                    <a:cubicBezTo>
                      <a:pt x="20485" y="8096"/>
                      <a:pt x="43059" y="0"/>
                      <a:pt x="66300" y="0"/>
                    </a:cubicBezTo>
                    <a:cubicBezTo>
                      <a:pt x="89541" y="0"/>
                      <a:pt x="112116" y="8096"/>
                      <a:pt x="130023" y="22765"/>
                    </a:cubicBezTo>
                    <a:cubicBezTo>
                      <a:pt x="133071" y="25241"/>
                      <a:pt x="133547" y="29718"/>
                      <a:pt x="130975" y="32861"/>
                    </a:cubicBezTo>
                    <a:cubicBezTo>
                      <a:pt x="128499" y="35909"/>
                      <a:pt x="123927" y="36385"/>
                      <a:pt x="120879" y="33814"/>
                    </a:cubicBezTo>
                    <a:cubicBezTo>
                      <a:pt x="105543" y="21241"/>
                      <a:pt x="86112" y="14288"/>
                      <a:pt x="66205" y="14288"/>
                    </a:cubicBezTo>
                    <a:cubicBezTo>
                      <a:pt x="46298" y="14288"/>
                      <a:pt x="26962" y="21241"/>
                      <a:pt x="11532" y="33814"/>
                    </a:cubicBezTo>
                    <a:cubicBezTo>
                      <a:pt x="10389" y="34957"/>
                      <a:pt x="8769" y="35433"/>
                      <a:pt x="7150" y="3543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4" name="Freihandform: Form 4295">
                <a:extLst>
                  <a:ext uri="{FF2B5EF4-FFF2-40B4-BE49-F238E27FC236}">
                    <a16:creationId xmlns:a16="http://schemas.microsoft.com/office/drawing/2014/main" id="{899B13C9-4F4E-5A6E-B427-AB91E1C9618F}"/>
                  </a:ext>
                </a:extLst>
              </p:cNvPr>
              <p:cNvSpPr/>
              <p:nvPr/>
            </p:nvSpPr>
            <p:spPr>
              <a:xfrm>
                <a:off x="6086569" y="3306127"/>
                <a:ext cx="14287" cy="176307"/>
              </a:xfrm>
              <a:custGeom>
                <a:avLst/>
                <a:gdLst>
                  <a:gd name="connsiteX0" fmla="*/ 7144 w 14287"/>
                  <a:gd name="connsiteY0" fmla="*/ 176308 h 176307"/>
                  <a:gd name="connsiteX1" fmla="*/ 0 w 14287"/>
                  <a:gd name="connsiteY1" fmla="*/ 169164 h 176307"/>
                  <a:gd name="connsiteX2" fmla="*/ 0 w 14287"/>
                  <a:gd name="connsiteY2" fmla="*/ 7144 h 176307"/>
                  <a:gd name="connsiteX3" fmla="*/ 7144 w 14287"/>
                  <a:gd name="connsiteY3" fmla="*/ 0 h 176307"/>
                  <a:gd name="connsiteX4" fmla="*/ 14288 w 14287"/>
                  <a:gd name="connsiteY4" fmla="*/ 7144 h 176307"/>
                  <a:gd name="connsiteX5" fmla="*/ 14288 w 14287"/>
                  <a:gd name="connsiteY5" fmla="*/ 169164 h 176307"/>
                  <a:gd name="connsiteX6" fmla="*/ 7144 w 14287"/>
                  <a:gd name="connsiteY6" fmla="*/ 176308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307">
                    <a:moveTo>
                      <a:pt x="7144" y="176308"/>
                    </a:moveTo>
                    <a:cubicBezTo>
                      <a:pt x="3239" y="176308"/>
                      <a:pt x="0" y="173069"/>
                      <a:pt x="0" y="16916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308"/>
                      <a:pt x="7144" y="1763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5" name="Freihandform: Form 4296">
                <a:extLst>
                  <a:ext uri="{FF2B5EF4-FFF2-40B4-BE49-F238E27FC236}">
                    <a16:creationId xmlns:a16="http://schemas.microsoft.com/office/drawing/2014/main" id="{303D75B9-7364-A81A-6880-A75269B65AA7}"/>
                  </a:ext>
                </a:extLst>
              </p:cNvPr>
              <p:cNvSpPr/>
              <p:nvPr/>
            </p:nvSpPr>
            <p:spPr>
              <a:xfrm>
                <a:off x="6005607" y="3387185"/>
                <a:ext cx="176307" cy="14287"/>
              </a:xfrm>
              <a:custGeom>
                <a:avLst/>
                <a:gdLst>
                  <a:gd name="connsiteX0" fmla="*/ 169164 w 176307"/>
                  <a:gd name="connsiteY0" fmla="*/ 14288 h 14287"/>
                  <a:gd name="connsiteX1" fmla="*/ 7144 w 176307"/>
                  <a:gd name="connsiteY1" fmla="*/ 14288 h 14287"/>
                  <a:gd name="connsiteX2" fmla="*/ 0 w 176307"/>
                  <a:gd name="connsiteY2" fmla="*/ 7144 h 14287"/>
                  <a:gd name="connsiteX3" fmla="*/ 7144 w 176307"/>
                  <a:gd name="connsiteY3" fmla="*/ 0 h 14287"/>
                  <a:gd name="connsiteX4" fmla="*/ 169164 w 176307"/>
                  <a:gd name="connsiteY4" fmla="*/ 0 h 14287"/>
                  <a:gd name="connsiteX5" fmla="*/ 176308 w 176307"/>
                  <a:gd name="connsiteY5" fmla="*/ 7144 h 14287"/>
                  <a:gd name="connsiteX6" fmla="*/ 169164 w 17630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307" h="14287">
                    <a:moveTo>
                      <a:pt x="16916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69164" y="0"/>
                    </a:lnTo>
                    <a:cubicBezTo>
                      <a:pt x="173069" y="0"/>
                      <a:pt x="176308" y="3239"/>
                      <a:pt x="176308" y="7144"/>
                    </a:cubicBezTo>
                    <a:cubicBezTo>
                      <a:pt x="176308" y="11049"/>
                      <a:pt x="173069" y="14288"/>
                      <a:pt x="169164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E2091F0C-EBA8-0AB7-2C96-DCF40B2192F0}"/>
              </a:ext>
            </a:extLst>
          </p:cNvPr>
          <p:cNvSpPr txBox="1"/>
          <p:nvPr/>
        </p:nvSpPr>
        <p:spPr>
          <a:xfrm>
            <a:off x="8933837" y="5113955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etwork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lement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BA10B0B-9C51-11D1-8C2E-F03EADB95D11}"/>
              </a:ext>
            </a:extLst>
          </p:cNvPr>
          <p:cNvSpPr txBox="1"/>
          <p:nvPr/>
        </p:nvSpPr>
        <p:spPr>
          <a:xfrm>
            <a:off x="8711556" y="3069200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DC172EB-9D42-6E0F-D790-056334E8DE04}"/>
              </a:ext>
            </a:extLst>
          </p:cNvPr>
          <p:cNvSpPr txBox="1"/>
          <p:nvPr/>
        </p:nvSpPr>
        <p:spPr>
          <a:xfrm>
            <a:off x="8711556" y="1039642"/>
            <a:ext cx="135714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ABF1D955-42CB-9B4E-3D07-5673D900AD40}"/>
              </a:ext>
            </a:extLst>
          </p:cNvPr>
          <p:cNvSpPr txBox="1"/>
          <p:nvPr/>
        </p:nvSpPr>
        <p:spPr>
          <a:xfrm>
            <a:off x="3274901" y="2202453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orthbound Interface (NBI)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D9091E-C862-6B74-99C4-EF3C7B09812F}"/>
              </a:ext>
            </a:extLst>
          </p:cNvPr>
          <p:cNvSpPr txBox="1"/>
          <p:nvPr/>
        </p:nvSpPr>
        <p:spPr>
          <a:xfrm>
            <a:off x="3355693" y="4224638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outhbound Interface (SBI)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3CFE02C-3B84-AF21-9F30-9E085858C583}"/>
              </a:ext>
            </a:extLst>
          </p:cNvPr>
          <p:cNvSpPr/>
          <p:nvPr/>
        </p:nvSpPr>
        <p:spPr>
          <a:xfrm>
            <a:off x="6861414" y="2218512"/>
            <a:ext cx="1292541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REST API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F24D4-D161-D543-C3DD-0285A9C95F30}"/>
              </a:ext>
            </a:extLst>
          </p:cNvPr>
          <p:cNvSpPr/>
          <p:nvPr/>
        </p:nvSpPr>
        <p:spPr>
          <a:xfrm>
            <a:off x="6855903" y="4145846"/>
            <a:ext cx="2648582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OpenFlow, BGP, NetConf</a:t>
            </a:r>
          </a:p>
        </p:txBody>
      </p:sp>
    </p:spTree>
    <p:extLst>
      <p:ext uri="{BB962C8B-B14F-4D97-AF65-F5344CB8AC3E}">
        <p14:creationId xmlns:p14="http://schemas.microsoft.com/office/powerpoint/2010/main" val="42856060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1EC9878-FC3A-A303-A366-651F4E0581AE}"/>
              </a:ext>
            </a:extLst>
          </p:cNvPr>
          <p:cNvSpPr/>
          <p:nvPr/>
        </p:nvSpPr>
        <p:spPr>
          <a:xfrm>
            <a:off x="4528457" y="430305"/>
            <a:ext cx="3135086" cy="4917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DN Control Architectur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455018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F93735E-F6FA-8725-7B0D-DE95E725F9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6110" y="0"/>
            <a:ext cx="827978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7789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Table&#10;&#10;Description automatically generated">
            <a:extLst>
              <a:ext uri="{FF2B5EF4-FFF2-40B4-BE49-F238E27FC236}">
                <a16:creationId xmlns:a16="http://schemas.microsoft.com/office/drawing/2014/main" id="{4C070B5F-4CD0-2992-8036-0422D6152B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6678" y="883387"/>
            <a:ext cx="6577432" cy="52671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6FBE390-30CE-599E-D24A-D80D8CA024E6}"/>
              </a:ext>
            </a:extLst>
          </p:cNvPr>
          <p:cNvSpPr txBox="1"/>
          <p:nvPr/>
        </p:nvSpPr>
        <p:spPr>
          <a:xfrm>
            <a:off x="4962347" y="844829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26489DB-2567-8FED-BB95-28FAF5DC495D}"/>
              </a:ext>
            </a:extLst>
          </p:cNvPr>
          <p:cNvSpPr txBox="1"/>
          <p:nvPr/>
        </p:nvSpPr>
        <p:spPr>
          <a:xfrm>
            <a:off x="4795365" y="233521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9" name="Left Brace 8">
            <a:extLst>
              <a:ext uri="{FF2B5EF4-FFF2-40B4-BE49-F238E27FC236}">
                <a16:creationId xmlns:a16="http://schemas.microsoft.com/office/drawing/2014/main" id="{0D181F37-98DB-5D6F-AFFC-1CF1A5B3F77E}"/>
              </a:ext>
            </a:extLst>
          </p:cNvPr>
          <p:cNvSpPr/>
          <p:nvPr/>
        </p:nvSpPr>
        <p:spPr>
          <a:xfrm>
            <a:off x="5041337" y="1095627"/>
            <a:ext cx="74757" cy="2756182"/>
          </a:xfrm>
          <a:prstGeom prst="lef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28703BB-DC91-8AF7-1FA5-FD16D198B8D8}"/>
              </a:ext>
            </a:extLst>
          </p:cNvPr>
          <p:cNvSpPr txBox="1"/>
          <p:nvPr/>
        </p:nvSpPr>
        <p:spPr>
          <a:xfrm>
            <a:off x="4961062" y="378709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D109307-2BA8-8F42-4C5B-A29D03E0E9A5}"/>
              </a:ext>
            </a:extLst>
          </p:cNvPr>
          <p:cNvSpPr txBox="1"/>
          <p:nvPr/>
        </p:nvSpPr>
        <p:spPr>
          <a:xfrm>
            <a:off x="4961062" y="3925596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5D9902B-0E3B-E960-7339-134BE3FD5325}"/>
              </a:ext>
            </a:extLst>
          </p:cNvPr>
          <p:cNvSpPr txBox="1"/>
          <p:nvPr/>
        </p:nvSpPr>
        <p:spPr>
          <a:xfrm>
            <a:off x="4961062" y="4086384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B919113-0F90-CE24-0DBE-34E61474A475}"/>
              </a:ext>
            </a:extLst>
          </p:cNvPr>
          <p:cNvSpPr txBox="1"/>
          <p:nvPr/>
        </p:nvSpPr>
        <p:spPr>
          <a:xfrm>
            <a:off x="4961062" y="4224883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5E4E91-BEE1-A6F9-8962-9097B9D07713}"/>
              </a:ext>
            </a:extLst>
          </p:cNvPr>
          <p:cNvSpPr txBox="1"/>
          <p:nvPr/>
        </p:nvSpPr>
        <p:spPr>
          <a:xfrm>
            <a:off x="4961062" y="436338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9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F4171C-CCE5-C032-FF08-E186EBEB8B22}"/>
              </a:ext>
            </a:extLst>
          </p:cNvPr>
          <p:cNvSpPr txBox="1"/>
          <p:nvPr/>
        </p:nvSpPr>
        <p:spPr>
          <a:xfrm>
            <a:off x="4878213" y="4501881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07E76E-52DA-3EEF-47B5-140274764AE9}"/>
              </a:ext>
            </a:extLst>
          </p:cNvPr>
          <p:cNvSpPr txBox="1"/>
          <p:nvPr/>
        </p:nvSpPr>
        <p:spPr>
          <a:xfrm>
            <a:off x="4878212" y="4640380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8D07F80-A89F-81A0-A628-0A1BA47A00F8}"/>
              </a:ext>
            </a:extLst>
          </p:cNvPr>
          <p:cNvSpPr txBox="1"/>
          <p:nvPr/>
        </p:nvSpPr>
        <p:spPr>
          <a:xfrm>
            <a:off x="4878211" y="5343990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4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FA68EB1-C08A-3014-86A3-D7C249CCD132}"/>
              </a:ext>
            </a:extLst>
          </p:cNvPr>
          <p:cNvSpPr txBox="1"/>
          <p:nvPr/>
        </p:nvSpPr>
        <p:spPr>
          <a:xfrm>
            <a:off x="4892628" y="5623873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76660A7-D5D5-1A43-1C93-C1796DDE1A1B}"/>
              </a:ext>
            </a:extLst>
          </p:cNvPr>
          <p:cNvSpPr txBox="1"/>
          <p:nvPr/>
        </p:nvSpPr>
        <p:spPr>
          <a:xfrm>
            <a:off x="4892628" y="5915432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7</a:t>
            </a:r>
          </a:p>
        </p:txBody>
      </p:sp>
    </p:spTree>
    <p:extLst>
      <p:ext uri="{BB962C8B-B14F-4D97-AF65-F5344CB8AC3E}">
        <p14:creationId xmlns:p14="http://schemas.microsoft.com/office/powerpoint/2010/main" val="17219734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Box 149">
            <a:extLst>
              <a:ext uri="{FF2B5EF4-FFF2-40B4-BE49-F238E27FC236}">
                <a16:creationId xmlns:a16="http://schemas.microsoft.com/office/drawing/2014/main" id="{178E0C05-B1BA-DF40-59C2-15EEBDE141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8527" y="4668432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Text Box 149">
            <a:extLst>
              <a:ext uri="{FF2B5EF4-FFF2-40B4-BE49-F238E27FC236}">
                <a16:creationId xmlns:a16="http://schemas.microsoft.com/office/drawing/2014/main" id="{955532A8-C3D2-79FD-6595-544EBD38B1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6723" y="4963092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" name="Text Box 149">
            <a:extLst>
              <a:ext uri="{FF2B5EF4-FFF2-40B4-BE49-F238E27FC236}">
                <a16:creationId xmlns:a16="http://schemas.microsoft.com/office/drawing/2014/main" id="{16F2C2F9-7F01-DC7D-06C0-12924385D7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9967" y="1222531"/>
            <a:ext cx="2391482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Text Box 149">
            <a:extLst>
              <a:ext uri="{FF2B5EF4-FFF2-40B4-BE49-F238E27FC236}">
                <a16:creationId xmlns:a16="http://schemas.microsoft.com/office/drawing/2014/main" id="{3DD7E440-84FD-DE3B-5C3C-A26AC9CA9EF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57840" y="1260265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4" name="Text Box 149">
            <a:extLst>
              <a:ext uri="{FF2B5EF4-FFF2-40B4-BE49-F238E27FC236}">
                <a16:creationId xmlns:a16="http://schemas.microsoft.com/office/drawing/2014/main" id="{4B49054F-5624-3B72-1E62-F209B1E081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77275" y="2877797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Advertisement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Text Box 149">
            <a:extLst>
              <a:ext uri="{FF2B5EF4-FFF2-40B4-BE49-F238E27FC236}">
                <a16:creationId xmlns:a16="http://schemas.microsoft.com/office/drawing/2014/main" id="{04CD86AB-B61F-D75F-9F69-EFFC4BF01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73695" y="5264612"/>
            <a:ext cx="2418632" cy="2854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Text Box 149">
            <a:extLst>
              <a:ext uri="{FF2B5EF4-FFF2-40B4-BE49-F238E27FC236}">
                <a16:creationId xmlns:a16="http://schemas.microsoft.com/office/drawing/2014/main" id="{CC3DD145-F8F9-6873-1882-894255714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29210" y="5570588"/>
            <a:ext cx="2131537" cy="26870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Text Box 149">
            <a:extLst>
              <a:ext uri="{FF2B5EF4-FFF2-40B4-BE49-F238E27FC236}">
                <a16:creationId xmlns:a16="http://schemas.microsoft.com/office/drawing/2014/main" id="{C32DC08A-0D8B-5DF6-99E9-E11051CDE8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6638" y="5986720"/>
            <a:ext cx="2157789" cy="2998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2" name="Text Box 149">
            <a:extLst>
              <a:ext uri="{FF2B5EF4-FFF2-40B4-BE49-F238E27FC236}">
                <a16:creationId xmlns:a16="http://schemas.microsoft.com/office/drawing/2014/main" id="{6A3FD2B9-6037-1565-6E76-462C1E1486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8597" y="2765487"/>
            <a:ext cx="3647540" cy="26314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Advertisement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4" name="Text Box 149">
            <a:extLst>
              <a:ext uri="{FF2B5EF4-FFF2-40B4-BE49-F238E27FC236}">
                <a16:creationId xmlns:a16="http://schemas.microsoft.com/office/drawing/2014/main" id="{2234042C-5D5C-E4AC-83ED-E02A39203D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31165" y="3919469"/>
            <a:ext cx="2380178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5" name="Text Box 149">
            <a:extLst>
              <a:ext uri="{FF2B5EF4-FFF2-40B4-BE49-F238E27FC236}">
                <a16:creationId xmlns:a16="http://schemas.microsoft.com/office/drawing/2014/main" id="{46F7A897-05E2-2C17-18D7-EE91B59BEA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19497" y="3519416"/>
            <a:ext cx="2391482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582629" y="480951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893777" y="1032765"/>
            <a:ext cx="0" cy="5636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2516781" y="446173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062455" y="1116732"/>
            <a:ext cx="21531" cy="552022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8454081" y="444212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>
            <a:off x="9001452" y="1112231"/>
            <a:ext cx="24884" cy="55202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4131" y="199714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5999C34-FAD3-1E60-AD57-1EA1D3E8CD83}"/>
              </a:ext>
            </a:extLst>
          </p:cNvPr>
          <p:cNvCxnSpPr>
            <a:cxnSpLocks/>
          </p:cNvCxnSpPr>
          <p:nvPr/>
        </p:nvCxnSpPr>
        <p:spPr>
          <a:xfrm>
            <a:off x="897900" y="1462808"/>
            <a:ext cx="21617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A5A9E30F-311D-98BC-57C0-BE9A9DFAF7E7}"/>
              </a:ext>
            </a:extLst>
          </p:cNvPr>
          <p:cNvCxnSpPr>
            <a:cxnSpLocks/>
          </p:cNvCxnSpPr>
          <p:nvPr/>
        </p:nvCxnSpPr>
        <p:spPr>
          <a:xfrm flipH="1">
            <a:off x="3068934" y="3265735"/>
            <a:ext cx="2277790" cy="4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BA2BF0B1-D3A4-0D3C-C824-A102923105A5}"/>
              </a:ext>
            </a:extLst>
          </p:cNvPr>
          <p:cNvCxnSpPr>
            <a:cxnSpLocks/>
          </p:cNvCxnSpPr>
          <p:nvPr/>
        </p:nvCxnSpPr>
        <p:spPr>
          <a:xfrm>
            <a:off x="3077275" y="4491519"/>
            <a:ext cx="593335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005B01E-7093-7B94-45CC-3F1C7044B74D}"/>
              </a:ext>
            </a:extLst>
          </p:cNvPr>
          <p:cNvCxnSpPr>
            <a:cxnSpLocks/>
          </p:cNvCxnSpPr>
          <p:nvPr/>
        </p:nvCxnSpPr>
        <p:spPr>
          <a:xfrm flipH="1">
            <a:off x="3057575" y="4174044"/>
            <a:ext cx="22943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10957125" y="408355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11268273" y="960169"/>
            <a:ext cx="24610" cy="567228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lowchart: Terminator 50">
            <a:extLst>
              <a:ext uri="{FF2B5EF4-FFF2-40B4-BE49-F238E27FC236}">
                <a16:creationId xmlns:a16="http://schemas.microsoft.com/office/drawing/2014/main" id="{0377C347-4EE8-D2BE-475B-DE1AAA615EEB}"/>
              </a:ext>
            </a:extLst>
          </p:cNvPr>
          <p:cNvSpPr/>
          <p:nvPr/>
        </p:nvSpPr>
        <p:spPr>
          <a:xfrm>
            <a:off x="4797544" y="450746"/>
            <a:ext cx="1074420" cy="670560"/>
          </a:xfrm>
          <a:prstGeom prst="flowChartTerminator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NOS Controller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608EFF2-2A7B-629B-843E-61DD5EC3F0D5}"/>
              </a:ext>
            </a:extLst>
          </p:cNvPr>
          <p:cNvCxnSpPr>
            <a:cxnSpLocks/>
          </p:cNvCxnSpPr>
          <p:nvPr/>
        </p:nvCxnSpPr>
        <p:spPr>
          <a:xfrm>
            <a:off x="5340245" y="1116732"/>
            <a:ext cx="12957" cy="551572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C3213CED-26EF-68BD-9F9F-9BE8C8B03EAD}"/>
              </a:ext>
            </a:extLst>
          </p:cNvPr>
          <p:cNvCxnSpPr>
            <a:cxnSpLocks/>
          </p:cNvCxnSpPr>
          <p:nvPr/>
        </p:nvCxnSpPr>
        <p:spPr>
          <a:xfrm>
            <a:off x="3062455" y="1631746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3A4BED29-B25D-CC31-0E8C-A3CF41140673}"/>
              </a:ext>
            </a:extLst>
          </p:cNvPr>
          <p:cNvCxnSpPr>
            <a:cxnSpLocks/>
          </p:cNvCxnSpPr>
          <p:nvPr/>
        </p:nvCxnSpPr>
        <p:spPr>
          <a:xfrm flipH="1">
            <a:off x="5353202" y="3043434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636E65E-066C-7682-AAAD-A54E34B92AE6}"/>
              </a:ext>
            </a:extLst>
          </p:cNvPr>
          <p:cNvCxnSpPr>
            <a:cxnSpLocks/>
          </p:cNvCxnSpPr>
          <p:nvPr/>
        </p:nvCxnSpPr>
        <p:spPr>
          <a:xfrm flipH="1">
            <a:off x="9016504" y="5814963"/>
            <a:ext cx="22640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D6BEBB5D-8303-B54E-C8D7-0B3974D550DF}"/>
              </a:ext>
            </a:extLst>
          </p:cNvPr>
          <p:cNvCxnSpPr>
            <a:cxnSpLocks/>
          </p:cNvCxnSpPr>
          <p:nvPr/>
        </p:nvCxnSpPr>
        <p:spPr>
          <a:xfrm>
            <a:off x="9027297" y="5502245"/>
            <a:ext cx="2253281" cy="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CC93BE02-E9F2-877B-3D37-E41E666B0B53}"/>
              </a:ext>
            </a:extLst>
          </p:cNvPr>
          <p:cNvCxnSpPr>
            <a:cxnSpLocks/>
          </p:cNvCxnSpPr>
          <p:nvPr/>
        </p:nvCxnSpPr>
        <p:spPr>
          <a:xfrm flipH="1">
            <a:off x="914800" y="6196508"/>
            <a:ext cx="21577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1E09612-AD38-9E67-7C31-6338D60ADA0C}"/>
              </a:ext>
            </a:extLst>
          </p:cNvPr>
          <p:cNvCxnSpPr>
            <a:cxnSpLocks/>
          </p:cNvCxnSpPr>
          <p:nvPr/>
        </p:nvCxnSpPr>
        <p:spPr>
          <a:xfrm>
            <a:off x="3077275" y="3764492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3B7AC4D-0259-467C-2A2B-DA9FF99CC186}"/>
              </a:ext>
            </a:extLst>
          </p:cNvPr>
          <p:cNvCxnSpPr>
            <a:cxnSpLocks/>
          </p:cNvCxnSpPr>
          <p:nvPr/>
        </p:nvCxnSpPr>
        <p:spPr>
          <a:xfrm flipH="1">
            <a:off x="3076161" y="6046579"/>
            <a:ext cx="5949976" cy="24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53314" y="163202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Text Box 149">
            <a:extLst>
              <a:ext uri="{FF2B5EF4-FFF2-40B4-BE49-F238E27FC236}">
                <a16:creationId xmlns:a16="http://schemas.microsoft.com/office/drawing/2014/main" id="{C1201ABF-A30F-5073-216D-58EC583FF8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9007" y="4248185"/>
            <a:ext cx="261997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Text Box 149">
            <a:extLst>
              <a:ext uri="{FF2B5EF4-FFF2-40B4-BE49-F238E27FC236}">
                <a16:creationId xmlns:a16="http://schemas.microsoft.com/office/drawing/2014/main" id="{D3CBD1BE-D7EC-FF2E-B508-42082D6ED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0245" y="5815762"/>
            <a:ext cx="2507517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038455B-2C03-9CBF-F52E-E7F37C1987D2}"/>
              </a:ext>
            </a:extLst>
          </p:cNvPr>
          <p:cNvSpPr/>
          <p:nvPr/>
        </p:nvSpPr>
        <p:spPr>
          <a:xfrm>
            <a:off x="6143476" y="44888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2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8991329-9B79-F91D-5282-2A160FD8143F}"/>
              </a:ext>
            </a:extLst>
          </p:cNvPr>
          <p:cNvCxnSpPr>
            <a:cxnSpLocks/>
          </p:cNvCxnSpPr>
          <p:nvPr/>
        </p:nvCxnSpPr>
        <p:spPr>
          <a:xfrm>
            <a:off x="6713047" y="1112070"/>
            <a:ext cx="5938" cy="83787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FFF32704-E2B9-BC30-5490-EEFE5E506BC0}"/>
              </a:ext>
            </a:extLst>
          </p:cNvPr>
          <p:cNvSpPr/>
          <p:nvPr/>
        </p:nvSpPr>
        <p:spPr>
          <a:xfrm>
            <a:off x="7293213" y="450746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3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7F46292-8B16-1C1C-5A52-31435FCC6BFC}"/>
              </a:ext>
            </a:extLst>
          </p:cNvPr>
          <p:cNvCxnSpPr>
            <a:cxnSpLocks/>
          </p:cNvCxnSpPr>
          <p:nvPr/>
        </p:nvCxnSpPr>
        <p:spPr>
          <a:xfrm>
            <a:off x="7840584" y="1118765"/>
            <a:ext cx="0" cy="11789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149">
            <a:extLst>
              <a:ext uri="{FF2B5EF4-FFF2-40B4-BE49-F238E27FC236}">
                <a16:creationId xmlns:a16="http://schemas.microsoft.com/office/drawing/2014/main" id="{93AC6B3A-7049-0616-8C39-E8465C09F0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06658" y="1486848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11565A74-A3A8-EB1E-C0A4-7261BF2AD39F}"/>
              </a:ext>
            </a:extLst>
          </p:cNvPr>
          <p:cNvCxnSpPr>
            <a:cxnSpLocks/>
          </p:cNvCxnSpPr>
          <p:nvPr/>
        </p:nvCxnSpPr>
        <p:spPr>
          <a:xfrm>
            <a:off x="5333767" y="1868936"/>
            <a:ext cx="140093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Box 149">
            <a:extLst>
              <a:ext uri="{FF2B5EF4-FFF2-40B4-BE49-F238E27FC236}">
                <a16:creationId xmlns:a16="http://schemas.microsoft.com/office/drawing/2014/main" id="{ECCBC542-7114-BA1D-6578-C1B05A8664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3202" y="1974475"/>
            <a:ext cx="2465294" cy="221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7C12AA0-5BC6-9058-9C81-C72D2D3DBE66}"/>
              </a:ext>
            </a:extLst>
          </p:cNvPr>
          <p:cNvCxnSpPr>
            <a:cxnSpLocks/>
          </p:cNvCxnSpPr>
          <p:nvPr/>
        </p:nvCxnSpPr>
        <p:spPr>
          <a:xfrm>
            <a:off x="5346723" y="2242844"/>
            <a:ext cx="249386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 Box 149">
            <a:extLst>
              <a:ext uri="{FF2B5EF4-FFF2-40B4-BE49-F238E27FC236}">
                <a16:creationId xmlns:a16="http://schemas.microsoft.com/office/drawing/2014/main" id="{DA1D141D-63C8-9F11-B6C5-A837B81D34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8527" y="2393428"/>
            <a:ext cx="3587683" cy="221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847F186-9FCB-D84A-670F-9E7F0475A46A}"/>
              </a:ext>
            </a:extLst>
          </p:cNvPr>
          <p:cNvCxnSpPr>
            <a:cxnSpLocks/>
          </p:cNvCxnSpPr>
          <p:nvPr/>
        </p:nvCxnSpPr>
        <p:spPr>
          <a:xfrm flipV="1">
            <a:off x="5352049" y="2637014"/>
            <a:ext cx="3658584" cy="247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BB2A62B-DC6B-CD60-1ED8-184E74DE1DC2}"/>
              </a:ext>
            </a:extLst>
          </p:cNvPr>
          <p:cNvCxnSpPr>
            <a:cxnSpLocks/>
          </p:cNvCxnSpPr>
          <p:nvPr/>
        </p:nvCxnSpPr>
        <p:spPr>
          <a:xfrm flipH="1">
            <a:off x="5353202" y="4876312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8A6E172-10CE-97D6-1790-A3891FEB630E}"/>
              </a:ext>
            </a:extLst>
          </p:cNvPr>
          <p:cNvCxnSpPr>
            <a:cxnSpLocks/>
          </p:cNvCxnSpPr>
          <p:nvPr/>
        </p:nvCxnSpPr>
        <p:spPr>
          <a:xfrm>
            <a:off x="5360733" y="5258053"/>
            <a:ext cx="36499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 Box 21">
            <a:extLst>
              <a:ext uri="{FF2B5EF4-FFF2-40B4-BE49-F238E27FC236}">
                <a16:creationId xmlns:a16="http://schemas.microsoft.com/office/drawing/2014/main" id="{526C1A3C-6AB0-2B13-09F0-D6A1F49766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77856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59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3" name="Text Box 21">
            <a:extLst>
              <a:ext uri="{FF2B5EF4-FFF2-40B4-BE49-F238E27FC236}">
                <a16:creationId xmlns:a16="http://schemas.microsoft.com/office/drawing/2014/main" id="{933AE5EF-E56F-FCB6-F8D8-81BE54E6C8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27120" y="21209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6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Text Box 21">
            <a:extLst>
              <a:ext uri="{FF2B5EF4-FFF2-40B4-BE49-F238E27FC236}">
                <a16:creationId xmlns:a16="http://schemas.microsoft.com/office/drawing/2014/main" id="{894B659F-A57D-FEBA-6931-13D3C58D9C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83894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7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" name="Text Box 21">
            <a:extLst>
              <a:ext uri="{FF2B5EF4-FFF2-40B4-BE49-F238E27FC236}">
                <a16:creationId xmlns:a16="http://schemas.microsoft.com/office/drawing/2014/main" id="{D7AC877F-C8FC-A6D1-DEB2-D63176255D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68903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3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Text Box 21">
            <a:extLst>
              <a:ext uri="{FF2B5EF4-FFF2-40B4-BE49-F238E27FC236}">
                <a16:creationId xmlns:a16="http://schemas.microsoft.com/office/drawing/2014/main" id="{45A0BAE6-B6C2-E713-AAB2-0F6149B799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25293" y="209320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0.11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8CE9AD2-EF21-9988-6FCA-A175DCF12C8F}"/>
              </a:ext>
            </a:extLst>
          </p:cNvPr>
          <p:cNvSpPr txBox="1"/>
          <p:nvPr/>
        </p:nvSpPr>
        <p:spPr>
          <a:xfrm>
            <a:off x="815903" y="1386835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01B0950-8C0D-B8A1-A193-C7127C037846}"/>
              </a:ext>
            </a:extLst>
          </p:cNvPr>
          <p:cNvSpPr txBox="1"/>
          <p:nvPr/>
        </p:nvSpPr>
        <p:spPr>
          <a:xfrm>
            <a:off x="3024216" y="1577570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C9BCE66-1427-5CA9-6F40-945441D0E1C3}"/>
              </a:ext>
            </a:extLst>
          </p:cNvPr>
          <p:cNvSpPr txBox="1"/>
          <p:nvPr/>
        </p:nvSpPr>
        <p:spPr>
          <a:xfrm>
            <a:off x="4940796" y="213227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A61342E-46BB-D226-CC2D-C67FCF9AF905}"/>
              </a:ext>
            </a:extLst>
          </p:cNvPr>
          <p:cNvSpPr txBox="1"/>
          <p:nvPr/>
        </p:nvSpPr>
        <p:spPr>
          <a:xfrm>
            <a:off x="8762075" y="300655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C6A6FE4-8194-6B8D-3B1C-86884430FEE8}"/>
              </a:ext>
            </a:extLst>
          </p:cNvPr>
          <p:cNvSpPr txBox="1"/>
          <p:nvPr/>
        </p:nvSpPr>
        <p:spPr>
          <a:xfrm>
            <a:off x="5124546" y="322197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5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97E737A-18B7-2D27-BF7F-5523FC7BE3CD}"/>
              </a:ext>
            </a:extLst>
          </p:cNvPr>
          <p:cNvSpPr txBox="1"/>
          <p:nvPr/>
        </p:nvSpPr>
        <p:spPr>
          <a:xfrm>
            <a:off x="3021188" y="3712365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B9A51C2-3656-C4B9-A47B-2B5D66958908}"/>
              </a:ext>
            </a:extLst>
          </p:cNvPr>
          <p:cNvSpPr txBox="1"/>
          <p:nvPr/>
        </p:nvSpPr>
        <p:spPr>
          <a:xfrm>
            <a:off x="5124546" y="411450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2F0DA36-2B04-08AF-998F-01F0C4CCBA86}"/>
              </a:ext>
            </a:extLst>
          </p:cNvPr>
          <p:cNvSpPr txBox="1"/>
          <p:nvPr/>
        </p:nvSpPr>
        <p:spPr>
          <a:xfrm>
            <a:off x="3031165" y="444629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8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FA4575D-67FA-9F69-6EB5-F4109618E031}"/>
              </a:ext>
            </a:extLst>
          </p:cNvPr>
          <p:cNvSpPr txBox="1"/>
          <p:nvPr/>
        </p:nvSpPr>
        <p:spPr>
          <a:xfrm>
            <a:off x="8809344" y="4825996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9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376CF76-D6BC-E941-DD19-91C516709971}"/>
              </a:ext>
            </a:extLst>
          </p:cNvPr>
          <p:cNvSpPr txBox="1"/>
          <p:nvPr/>
        </p:nvSpPr>
        <p:spPr>
          <a:xfrm>
            <a:off x="5321131" y="5210579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0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55DE0F6-79E8-7BFF-5900-53C05D37EC4D}"/>
              </a:ext>
            </a:extLst>
          </p:cNvPr>
          <p:cNvSpPr txBox="1"/>
          <p:nvPr/>
        </p:nvSpPr>
        <p:spPr>
          <a:xfrm>
            <a:off x="8973694" y="5458524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1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651CE3A-A8BA-AA54-5F59-629386621F51}"/>
              </a:ext>
            </a:extLst>
          </p:cNvPr>
          <p:cNvSpPr txBox="1"/>
          <p:nvPr/>
        </p:nvSpPr>
        <p:spPr>
          <a:xfrm>
            <a:off x="10986827" y="578184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2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BFD0891-D560-B37A-DD4C-3942E5BBCD79}"/>
              </a:ext>
            </a:extLst>
          </p:cNvPr>
          <p:cNvSpPr txBox="1"/>
          <p:nvPr/>
        </p:nvSpPr>
        <p:spPr>
          <a:xfrm>
            <a:off x="8737042" y="6001994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3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15763AED-CD5F-DD92-FA9A-2CEE11EC22F9}"/>
              </a:ext>
            </a:extLst>
          </p:cNvPr>
          <p:cNvSpPr txBox="1"/>
          <p:nvPr/>
        </p:nvSpPr>
        <p:spPr>
          <a:xfrm>
            <a:off x="2796636" y="6148085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4</a:t>
            </a:r>
          </a:p>
        </p:txBody>
      </p:sp>
      <p:sp>
        <p:nvSpPr>
          <p:cNvPr id="72" name="Left Brace 71">
            <a:extLst>
              <a:ext uri="{FF2B5EF4-FFF2-40B4-BE49-F238E27FC236}">
                <a16:creationId xmlns:a16="http://schemas.microsoft.com/office/drawing/2014/main" id="{6368B5B1-B6AC-7241-0F37-8818C17F7882}"/>
              </a:ext>
            </a:extLst>
          </p:cNvPr>
          <p:cNvSpPr/>
          <p:nvPr/>
        </p:nvSpPr>
        <p:spPr>
          <a:xfrm>
            <a:off x="5156717" y="1838130"/>
            <a:ext cx="121185" cy="871246"/>
          </a:xfrm>
          <a:prstGeom prst="lef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4758523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Box 149">
            <a:extLst>
              <a:ext uri="{FF2B5EF4-FFF2-40B4-BE49-F238E27FC236}">
                <a16:creationId xmlns:a16="http://schemas.microsoft.com/office/drawing/2014/main" id="{178E0C05-B1BA-DF40-59C2-15EEBDE141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4572" y="2170368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Text Box 149">
            <a:extLst>
              <a:ext uri="{FF2B5EF4-FFF2-40B4-BE49-F238E27FC236}">
                <a16:creationId xmlns:a16="http://schemas.microsoft.com/office/drawing/2014/main" id="{955532A8-C3D2-79FD-6595-544EBD38B1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22768" y="2465028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Text Box 149">
            <a:extLst>
              <a:ext uri="{FF2B5EF4-FFF2-40B4-BE49-F238E27FC236}">
                <a16:creationId xmlns:a16="http://schemas.microsoft.com/office/drawing/2014/main" id="{04CD86AB-B61F-D75F-9F69-EFFC4BF01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47815" y="1623865"/>
            <a:ext cx="2418632" cy="2854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Text Box 149">
            <a:extLst>
              <a:ext uri="{FF2B5EF4-FFF2-40B4-BE49-F238E27FC236}">
                <a16:creationId xmlns:a16="http://schemas.microsoft.com/office/drawing/2014/main" id="{CC3DD145-F8F9-6873-1882-894255714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03330" y="1929841"/>
            <a:ext cx="2131537" cy="26870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Text Box 149">
            <a:extLst>
              <a:ext uri="{FF2B5EF4-FFF2-40B4-BE49-F238E27FC236}">
                <a16:creationId xmlns:a16="http://schemas.microsoft.com/office/drawing/2014/main" id="{C32DC08A-0D8B-5DF6-99E9-E11051CDE8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5716" y="3876903"/>
            <a:ext cx="2157789" cy="2998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4" name="Text Box 149">
            <a:extLst>
              <a:ext uri="{FF2B5EF4-FFF2-40B4-BE49-F238E27FC236}">
                <a16:creationId xmlns:a16="http://schemas.microsoft.com/office/drawing/2014/main" id="{2234042C-5D5C-E4AC-83ED-E02A39203D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35884" y="3589040"/>
            <a:ext cx="2380178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5" name="Text Box 149">
            <a:extLst>
              <a:ext uri="{FF2B5EF4-FFF2-40B4-BE49-F238E27FC236}">
                <a16:creationId xmlns:a16="http://schemas.microsoft.com/office/drawing/2014/main" id="{46F7A897-05E2-2C17-18D7-EE91B59BEA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24216" y="3188987"/>
            <a:ext cx="2391482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582629" y="480951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893777" y="1032765"/>
            <a:ext cx="0" cy="5636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2516781" y="446173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062455" y="1116732"/>
            <a:ext cx="21531" cy="552022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8454081" y="444212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>
            <a:off x="9001452" y="1112231"/>
            <a:ext cx="24884" cy="55202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4131" y="199714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005B01E-7093-7B94-45CC-3F1C7044B74D}"/>
              </a:ext>
            </a:extLst>
          </p:cNvPr>
          <p:cNvCxnSpPr>
            <a:cxnSpLocks/>
          </p:cNvCxnSpPr>
          <p:nvPr/>
        </p:nvCxnSpPr>
        <p:spPr>
          <a:xfrm flipH="1">
            <a:off x="3062294" y="3843615"/>
            <a:ext cx="22943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10957125" y="408355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11268273" y="960169"/>
            <a:ext cx="24610" cy="567228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lowchart: Terminator 50">
            <a:extLst>
              <a:ext uri="{FF2B5EF4-FFF2-40B4-BE49-F238E27FC236}">
                <a16:creationId xmlns:a16="http://schemas.microsoft.com/office/drawing/2014/main" id="{0377C347-4EE8-D2BE-475B-DE1AAA615EEB}"/>
              </a:ext>
            </a:extLst>
          </p:cNvPr>
          <p:cNvSpPr/>
          <p:nvPr/>
        </p:nvSpPr>
        <p:spPr>
          <a:xfrm>
            <a:off x="4797544" y="450746"/>
            <a:ext cx="1074420" cy="670560"/>
          </a:xfrm>
          <a:prstGeom prst="flowChartTerminator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NOS Controller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608EFF2-2A7B-629B-843E-61DD5EC3F0D5}"/>
              </a:ext>
            </a:extLst>
          </p:cNvPr>
          <p:cNvCxnSpPr>
            <a:cxnSpLocks/>
          </p:cNvCxnSpPr>
          <p:nvPr/>
        </p:nvCxnSpPr>
        <p:spPr>
          <a:xfrm>
            <a:off x="5340245" y="1116732"/>
            <a:ext cx="16408" cy="298127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636E65E-066C-7682-AAAD-A54E34B92AE6}"/>
              </a:ext>
            </a:extLst>
          </p:cNvPr>
          <p:cNvCxnSpPr>
            <a:cxnSpLocks/>
          </p:cNvCxnSpPr>
          <p:nvPr/>
        </p:nvCxnSpPr>
        <p:spPr>
          <a:xfrm flipH="1">
            <a:off x="8990624" y="2174216"/>
            <a:ext cx="22640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D6BEBB5D-8303-B54E-C8D7-0B3974D550DF}"/>
              </a:ext>
            </a:extLst>
          </p:cNvPr>
          <p:cNvCxnSpPr>
            <a:cxnSpLocks/>
          </p:cNvCxnSpPr>
          <p:nvPr/>
        </p:nvCxnSpPr>
        <p:spPr>
          <a:xfrm>
            <a:off x="9001417" y="1861498"/>
            <a:ext cx="2253281" cy="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CC93BE02-E9F2-877B-3D37-E41E666B0B53}"/>
              </a:ext>
            </a:extLst>
          </p:cNvPr>
          <p:cNvCxnSpPr>
            <a:cxnSpLocks/>
          </p:cNvCxnSpPr>
          <p:nvPr/>
        </p:nvCxnSpPr>
        <p:spPr>
          <a:xfrm flipH="1">
            <a:off x="913878" y="4086691"/>
            <a:ext cx="21577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1E09612-AD38-9E67-7C31-6338D60ADA0C}"/>
              </a:ext>
            </a:extLst>
          </p:cNvPr>
          <p:cNvCxnSpPr>
            <a:cxnSpLocks/>
          </p:cNvCxnSpPr>
          <p:nvPr/>
        </p:nvCxnSpPr>
        <p:spPr>
          <a:xfrm>
            <a:off x="3081994" y="3434063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3B7AC4D-0259-467C-2A2B-DA9FF99CC186}"/>
              </a:ext>
            </a:extLst>
          </p:cNvPr>
          <p:cNvCxnSpPr>
            <a:cxnSpLocks/>
          </p:cNvCxnSpPr>
          <p:nvPr/>
        </p:nvCxnSpPr>
        <p:spPr>
          <a:xfrm flipH="1">
            <a:off x="3076360" y="3077458"/>
            <a:ext cx="5949976" cy="24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53314" y="163202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Text Box 149">
            <a:extLst>
              <a:ext uri="{FF2B5EF4-FFF2-40B4-BE49-F238E27FC236}">
                <a16:creationId xmlns:a16="http://schemas.microsoft.com/office/drawing/2014/main" id="{D3CBD1BE-D7EC-FF2E-B508-42082D6ED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0444" y="2846641"/>
            <a:ext cx="2507517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038455B-2C03-9CBF-F52E-E7F37C1987D2}"/>
              </a:ext>
            </a:extLst>
          </p:cNvPr>
          <p:cNvSpPr/>
          <p:nvPr/>
        </p:nvSpPr>
        <p:spPr>
          <a:xfrm>
            <a:off x="6143476" y="44888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2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F32704-E2B9-BC30-5490-EEFE5E506BC0}"/>
              </a:ext>
            </a:extLst>
          </p:cNvPr>
          <p:cNvSpPr/>
          <p:nvPr/>
        </p:nvSpPr>
        <p:spPr>
          <a:xfrm>
            <a:off x="7293213" y="450746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3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BB2A62B-DC6B-CD60-1ED8-184E74DE1DC2}"/>
              </a:ext>
            </a:extLst>
          </p:cNvPr>
          <p:cNvCxnSpPr>
            <a:cxnSpLocks/>
          </p:cNvCxnSpPr>
          <p:nvPr/>
        </p:nvCxnSpPr>
        <p:spPr>
          <a:xfrm flipH="1">
            <a:off x="5329247" y="2378248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8A6E172-10CE-97D6-1790-A3891FEB630E}"/>
              </a:ext>
            </a:extLst>
          </p:cNvPr>
          <p:cNvCxnSpPr>
            <a:cxnSpLocks/>
          </p:cNvCxnSpPr>
          <p:nvPr/>
        </p:nvCxnSpPr>
        <p:spPr>
          <a:xfrm>
            <a:off x="5336778" y="2759989"/>
            <a:ext cx="36499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 Box 21">
            <a:extLst>
              <a:ext uri="{FF2B5EF4-FFF2-40B4-BE49-F238E27FC236}">
                <a16:creationId xmlns:a16="http://schemas.microsoft.com/office/drawing/2014/main" id="{526C1A3C-6AB0-2B13-09F0-D6A1F49766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77856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59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3" name="Text Box 21">
            <a:extLst>
              <a:ext uri="{FF2B5EF4-FFF2-40B4-BE49-F238E27FC236}">
                <a16:creationId xmlns:a16="http://schemas.microsoft.com/office/drawing/2014/main" id="{933AE5EF-E56F-FCB6-F8D8-81BE54E6C8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27120" y="21209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6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Text Box 21">
            <a:extLst>
              <a:ext uri="{FF2B5EF4-FFF2-40B4-BE49-F238E27FC236}">
                <a16:creationId xmlns:a16="http://schemas.microsoft.com/office/drawing/2014/main" id="{894B659F-A57D-FEBA-6931-13D3C58D9C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83894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7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" name="Text Box 21">
            <a:extLst>
              <a:ext uri="{FF2B5EF4-FFF2-40B4-BE49-F238E27FC236}">
                <a16:creationId xmlns:a16="http://schemas.microsoft.com/office/drawing/2014/main" id="{D7AC877F-C8FC-A6D1-DEB2-D63176255D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68903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3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Text Box 21">
            <a:extLst>
              <a:ext uri="{FF2B5EF4-FFF2-40B4-BE49-F238E27FC236}">
                <a16:creationId xmlns:a16="http://schemas.microsoft.com/office/drawing/2014/main" id="{45A0BAE6-B6C2-E713-AAB2-0F6149B799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25293" y="209320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0.11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376CF76-D6BC-E941-DD19-91C516709971}"/>
              </a:ext>
            </a:extLst>
          </p:cNvPr>
          <p:cNvSpPr txBox="1"/>
          <p:nvPr/>
        </p:nvSpPr>
        <p:spPr>
          <a:xfrm>
            <a:off x="5302426" y="2729990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4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55DE0F6-79E8-7BFF-5900-53C05D37EC4D}"/>
              </a:ext>
            </a:extLst>
          </p:cNvPr>
          <p:cNvSpPr txBox="1"/>
          <p:nvPr/>
        </p:nvSpPr>
        <p:spPr>
          <a:xfrm>
            <a:off x="8947814" y="1817777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1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651CE3A-A8BA-AA54-5F59-629386621F51}"/>
              </a:ext>
            </a:extLst>
          </p:cNvPr>
          <p:cNvSpPr txBox="1"/>
          <p:nvPr/>
        </p:nvSpPr>
        <p:spPr>
          <a:xfrm>
            <a:off x="10960947" y="2141099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2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BFD0891-D560-B37A-DD4C-3942E5BBCD79}"/>
              </a:ext>
            </a:extLst>
          </p:cNvPr>
          <p:cNvSpPr txBox="1"/>
          <p:nvPr/>
        </p:nvSpPr>
        <p:spPr>
          <a:xfrm>
            <a:off x="8712131" y="2324117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3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C490E4-C976-EF09-CB12-936860845BF4}"/>
              </a:ext>
            </a:extLst>
          </p:cNvPr>
          <p:cNvSpPr txBox="1"/>
          <p:nvPr/>
        </p:nvSpPr>
        <p:spPr>
          <a:xfrm>
            <a:off x="8736285" y="304805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E66D91F-91D4-D9B2-3B7F-14C6020007FF}"/>
              </a:ext>
            </a:extLst>
          </p:cNvPr>
          <p:cNvSpPr txBox="1"/>
          <p:nvPr/>
        </p:nvSpPr>
        <p:spPr>
          <a:xfrm>
            <a:off x="3029844" y="339363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6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6D83412-2B8F-6D13-D95D-90BEC9CF726B}"/>
              </a:ext>
            </a:extLst>
          </p:cNvPr>
          <p:cNvSpPr txBox="1"/>
          <p:nvPr/>
        </p:nvSpPr>
        <p:spPr>
          <a:xfrm>
            <a:off x="5075597" y="380269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7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3D543DC-D2EE-DBD7-5E23-D5FEC758EA8F}"/>
              </a:ext>
            </a:extLst>
          </p:cNvPr>
          <p:cNvSpPr txBox="1"/>
          <p:nvPr/>
        </p:nvSpPr>
        <p:spPr>
          <a:xfrm>
            <a:off x="2777317" y="4068361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8</a:t>
            </a:r>
          </a:p>
        </p:txBody>
      </p:sp>
      <p:sp>
        <p:nvSpPr>
          <p:cNvPr id="16" name="Text Box 149">
            <a:extLst>
              <a:ext uri="{FF2B5EF4-FFF2-40B4-BE49-F238E27FC236}">
                <a16:creationId xmlns:a16="http://schemas.microsoft.com/office/drawing/2014/main" id="{E0BECDDA-DE39-A411-2E3F-89AFF1A785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8684" y="4316297"/>
            <a:ext cx="2391482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Text Box 149">
            <a:extLst>
              <a:ext uri="{FF2B5EF4-FFF2-40B4-BE49-F238E27FC236}">
                <a16:creationId xmlns:a16="http://schemas.microsoft.com/office/drawing/2014/main" id="{BBE050F0-E8C1-698B-D536-33D350CD26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67646" y="4787520"/>
            <a:ext cx="2418632" cy="2854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Text Box 149">
            <a:extLst>
              <a:ext uri="{FF2B5EF4-FFF2-40B4-BE49-F238E27FC236}">
                <a16:creationId xmlns:a16="http://schemas.microsoft.com/office/drawing/2014/main" id="{362AC69A-4BC5-1F67-6547-49AEA52368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23161" y="5093496"/>
            <a:ext cx="2131537" cy="26870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Text Box 149">
            <a:extLst>
              <a:ext uri="{FF2B5EF4-FFF2-40B4-BE49-F238E27FC236}">
                <a16:creationId xmlns:a16="http://schemas.microsoft.com/office/drawing/2014/main" id="{10A54F3F-918D-0F6E-47DA-5045E7F785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4109" y="5515530"/>
            <a:ext cx="2157789" cy="2998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AB7D208E-2247-CA81-2551-361789944D11}"/>
              </a:ext>
            </a:extLst>
          </p:cNvPr>
          <p:cNvCxnSpPr>
            <a:cxnSpLocks/>
          </p:cNvCxnSpPr>
          <p:nvPr/>
        </p:nvCxnSpPr>
        <p:spPr>
          <a:xfrm>
            <a:off x="906617" y="4556574"/>
            <a:ext cx="21617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781EFA3-6189-0F68-A514-57808D957663}"/>
              </a:ext>
            </a:extLst>
          </p:cNvPr>
          <p:cNvCxnSpPr>
            <a:cxnSpLocks/>
          </p:cNvCxnSpPr>
          <p:nvPr/>
        </p:nvCxnSpPr>
        <p:spPr>
          <a:xfrm>
            <a:off x="3076161" y="4877876"/>
            <a:ext cx="593335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BFEAA543-1723-8C7B-35E8-DBA48C32052F}"/>
              </a:ext>
            </a:extLst>
          </p:cNvPr>
          <p:cNvCxnSpPr>
            <a:cxnSpLocks/>
          </p:cNvCxnSpPr>
          <p:nvPr/>
        </p:nvCxnSpPr>
        <p:spPr>
          <a:xfrm flipH="1">
            <a:off x="9010455" y="5337871"/>
            <a:ext cx="22640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1788317A-79C9-3BE0-4C4C-3D85D9144B79}"/>
              </a:ext>
            </a:extLst>
          </p:cNvPr>
          <p:cNvCxnSpPr>
            <a:cxnSpLocks/>
          </p:cNvCxnSpPr>
          <p:nvPr/>
        </p:nvCxnSpPr>
        <p:spPr>
          <a:xfrm>
            <a:off x="9021248" y="5025153"/>
            <a:ext cx="2253281" cy="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F1D67FFA-F513-97AB-729F-8C2693CD4D97}"/>
              </a:ext>
            </a:extLst>
          </p:cNvPr>
          <p:cNvCxnSpPr>
            <a:cxnSpLocks/>
          </p:cNvCxnSpPr>
          <p:nvPr/>
        </p:nvCxnSpPr>
        <p:spPr>
          <a:xfrm flipH="1">
            <a:off x="922271" y="5725318"/>
            <a:ext cx="21577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1C3E957B-4978-45CA-3A55-0EF7E4836127}"/>
              </a:ext>
            </a:extLst>
          </p:cNvPr>
          <p:cNvCxnSpPr>
            <a:cxnSpLocks/>
          </p:cNvCxnSpPr>
          <p:nvPr/>
        </p:nvCxnSpPr>
        <p:spPr>
          <a:xfrm flipH="1">
            <a:off x="3083632" y="5575389"/>
            <a:ext cx="5949976" cy="24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Text Box 149">
            <a:extLst>
              <a:ext uri="{FF2B5EF4-FFF2-40B4-BE49-F238E27FC236}">
                <a16:creationId xmlns:a16="http://schemas.microsoft.com/office/drawing/2014/main" id="{0739282E-1C1B-704B-5E1B-91D267258E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7893" y="4634542"/>
            <a:ext cx="261997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" name="Text Box 149">
            <a:extLst>
              <a:ext uri="{FF2B5EF4-FFF2-40B4-BE49-F238E27FC236}">
                <a16:creationId xmlns:a16="http://schemas.microsoft.com/office/drawing/2014/main" id="{2BC84AD9-3AA6-7D01-8919-549248D24F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7716" y="5344572"/>
            <a:ext cx="2507517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020E9387-08A7-2385-18D0-F603D2C9D463}"/>
              </a:ext>
            </a:extLst>
          </p:cNvPr>
          <p:cNvSpPr txBox="1"/>
          <p:nvPr/>
        </p:nvSpPr>
        <p:spPr>
          <a:xfrm>
            <a:off x="857054" y="4551225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9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1960F272-D88D-ABB8-FE17-04B140823119}"/>
              </a:ext>
            </a:extLst>
          </p:cNvPr>
          <p:cNvSpPr txBox="1"/>
          <p:nvPr/>
        </p:nvSpPr>
        <p:spPr>
          <a:xfrm>
            <a:off x="3033024" y="4828224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0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ABF46BB0-A868-CC02-1473-780FF508F7BB}"/>
              </a:ext>
            </a:extLst>
          </p:cNvPr>
          <p:cNvSpPr txBox="1"/>
          <p:nvPr/>
        </p:nvSpPr>
        <p:spPr>
          <a:xfrm>
            <a:off x="8963418" y="4972725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1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DE49B67E-73BF-C7E9-49C2-518B3E7FE414}"/>
              </a:ext>
            </a:extLst>
          </p:cNvPr>
          <p:cNvSpPr txBox="1"/>
          <p:nvPr/>
        </p:nvSpPr>
        <p:spPr>
          <a:xfrm>
            <a:off x="11004827" y="5296052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2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13F5AE11-E9B5-76BA-D878-6DD471754467}"/>
              </a:ext>
            </a:extLst>
          </p:cNvPr>
          <p:cNvSpPr txBox="1"/>
          <p:nvPr/>
        </p:nvSpPr>
        <p:spPr>
          <a:xfrm>
            <a:off x="8745046" y="5530433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3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1ED860E-DCE6-DFEF-8869-77E9A11F5EF4}"/>
              </a:ext>
            </a:extLst>
          </p:cNvPr>
          <p:cNvSpPr txBox="1"/>
          <p:nvPr/>
        </p:nvSpPr>
        <p:spPr>
          <a:xfrm>
            <a:off x="2773906" y="5687073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4</a:t>
            </a:r>
          </a:p>
        </p:txBody>
      </p:sp>
    </p:spTree>
    <p:extLst>
      <p:ext uri="{BB962C8B-B14F-4D97-AF65-F5344CB8AC3E}">
        <p14:creationId xmlns:p14="http://schemas.microsoft.com/office/powerpoint/2010/main" val="16138731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Box 149">
            <a:extLst>
              <a:ext uri="{FF2B5EF4-FFF2-40B4-BE49-F238E27FC236}">
                <a16:creationId xmlns:a16="http://schemas.microsoft.com/office/drawing/2014/main" id="{16F2C2F9-7F01-DC7D-06C0-12924385D7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74648" y="1249189"/>
            <a:ext cx="2349636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Text Box 149">
            <a:extLst>
              <a:ext uri="{FF2B5EF4-FFF2-40B4-BE49-F238E27FC236}">
                <a16:creationId xmlns:a16="http://schemas.microsoft.com/office/drawing/2014/main" id="{04CD86AB-B61F-D75F-9F69-EFFC4BF01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0245" y="2034719"/>
            <a:ext cx="2373081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Text Box 149">
            <a:extLst>
              <a:ext uri="{FF2B5EF4-FFF2-40B4-BE49-F238E27FC236}">
                <a16:creationId xmlns:a16="http://schemas.microsoft.com/office/drawing/2014/main" id="{CC3DD145-F8F9-6873-1882-894255714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41379" y="2643155"/>
            <a:ext cx="2248504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Text Box 149">
            <a:extLst>
              <a:ext uri="{FF2B5EF4-FFF2-40B4-BE49-F238E27FC236}">
                <a16:creationId xmlns:a16="http://schemas.microsoft.com/office/drawing/2014/main" id="{C32DC08A-0D8B-5DF6-99E9-E11051CDE8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41640" y="3498615"/>
            <a:ext cx="2248504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1153064" y="445699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1464212" y="997513"/>
            <a:ext cx="0" cy="31509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3092404" y="442931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633621" y="1120941"/>
            <a:ext cx="11042" cy="303823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5456307" y="457707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 flipH="1">
            <a:off x="8146621" y="1100115"/>
            <a:ext cx="4683" cy="30456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6923" y="164461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5999C34-FAD3-1E60-AD57-1EA1D3E8CD83}"/>
              </a:ext>
            </a:extLst>
          </p:cNvPr>
          <p:cNvCxnSpPr>
            <a:cxnSpLocks/>
          </p:cNvCxnSpPr>
          <p:nvPr/>
        </p:nvCxnSpPr>
        <p:spPr>
          <a:xfrm>
            <a:off x="1474547" y="1498386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BA2BF0B1-D3A4-0D3C-C824-A102923105A5}"/>
              </a:ext>
            </a:extLst>
          </p:cNvPr>
          <p:cNvCxnSpPr>
            <a:cxnSpLocks/>
          </p:cNvCxnSpPr>
          <p:nvPr/>
        </p:nvCxnSpPr>
        <p:spPr>
          <a:xfrm>
            <a:off x="3636054" y="1871542"/>
            <a:ext cx="237202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6" name="Rectangle 52">
            <a:extLst>
              <a:ext uri="{FF2B5EF4-FFF2-40B4-BE49-F238E27FC236}">
                <a16:creationId xmlns:a16="http://schemas.microsoft.com/office/drawing/2014/main" id="{2FD39592-C8E3-B185-25E8-047793ABF6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6096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7820211" y="548301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6008079" y="1113490"/>
            <a:ext cx="0" cy="30456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636E65E-066C-7682-AAAD-A54E34B92AE6}"/>
              </a:ext>
            </a:extLst>
          </p:cNvPr>
          <p:cNvCxnSpPr>
            <a:cxnSpLocks/>
          </p:cNvCxnSpPr>
          <p:nvPr/>
        </p:nvCxnSpPr>
        <p:spPr>
          <a:xfrm flipH="1">
            <a:off x="6006250" y="2882736"/>
            <a:ext cx="2103581" cy="119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3B7AC4D-0259-467C-2A2B-DA9FF99CC186}"/>
              </a:ext>
            </a:extLst>
          </p:cNvPr>
          <p:cNvCxnSpPr>
            <a:cxnSpLocks/>
          </p:cNvCxnSpPr>
          <p:nvPr/>
        </p:nvCxnSpPr>
        <p:spPr>
          <a:xfrm flipH="1">
            <a:off x="3621335" y="3363884"/>
            <a:ext cx="241052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20483" y="210279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Text Box 149">
            <a:extLst>
              <a:ext uri="{FF2B5EF4-FFF2-40B4-BE49-F238E27FC236}">
                <a16:creationId xmlns:a16="http://schemas.microsoft.com/office/drawing/2014/main" id="{C1201ABF-A30F-5073-216D-58EC583FF8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45839" y="1621167"/>
            <a:ext cx="2405856" cy="22847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Text Box 149">
            <a:extLst>
              <a:ext uri="{FF2B5EF4-FFF2-40B4-BE49-F238E27FC236}">
                <a16:creationId xmlns:a16="http://schemas.microsoft.com/office/drawing/2014/main" id="{D3CBD1BE-D7EC-FF2E-B508-42082D6ED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63570" y="3088001"/>
            <a:ext cx="224850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AC7557B8-600F-47B4-6A7F-CDAADF2AEC04}"/>
              </a:ext>
            </a:extLst>
          </p:cNvPr>
          <p:cNvCxnSpPr>
            <a:cxnSpLocks/>
          </p:cNvCxnSpPr>
          <p:nvPr/>
        </p:nvCxnSpPr>
        <p:spPr>
          <a:xfrm>
            <a:off x="6007249" y="2277474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2E6F77E-13BE-1FFF-CF9B-0C8BCD2699CF}"/>
              </a:ext>
            </a:extLst>
          </p:cNvPr>
          <p:cNvCxnSpPr>
            <a:cxnSpLocks/>
          </p:cNvCxnSpPr>
          <p:nvPr/>
        </p:nvCxnSpPr>
        <p:spPr>
          <a:xfrm flipH="1">
            <a:off x="1469929" y="3745532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B18F6FFB-7107-44C9-7F36-343645D6372A}"/>
              </a:ext>
            </a:extLst>
          </p:cNvPr>
          <p:cNvSpPr txBox="1"/>
          <p:nvPr/>
        </p:nvSpPr>
        <p:spPr>
          <a:xfrm>
            <a:off x="3612300" y="183565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C98AAD5-8B02-E6D7-8488-6395BFE37DF5}"/>
              </a:ext>
            </a:extLst>
          </p:cNvPr>
          <p:cNvSpPr txBox="1"/>
          <p:nvPr/>
        </p:nvSpPr>
        <p:spPr>
          <a:xfrm>
            <a:off x="5954215" y="2231251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F9024BE-2BF4-B44F-6B31-59DFFC2884D6}"/>
              </a:ext>
            </a:extLst>
          </p:cNvPr>
          <p:cNvSpPr txBox="1"/>
          <p:nvPr/>
        </p:nvSpPr>
        <p:spPr>
          <a:xfrm>
            <a:off x="7932365" y="2848931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CD2A3706-13DB-472E-9F30-FE126BD56DF9}"/>
              </a:ext>
            </a:extLst>
          </p:cNvPr>
          <p:cNvSpPr txBox="1"/>
          <p:nvPr/>
        </p:nvSpPr>
        <p:spPr>
          <a:xfrm>
            <a:off x="5810106" y="3316480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8450408-A08E-3AE2-B772-ABFCAD61AD87}"/>
              </a:ext>
            </a:extLst>
          </p:cNvPr>
          <p:cNvSpPr txBox="1"/>
          <p:nvPr/>
        </p:nvSpPr>
        <p:spPr>
          <a:xfrm>
            <a:off x="3432665" y="370776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1B90551-EDDB-DFF1-2349-C99396F8E30D}"/>
              </a:ext>
            </a:extLst>
          </p:cNvPr>
          <p:cNvSpPr txBox="1"/>
          <p:nvPr/>
        </p:nvSpPr>
        <p:spPr>
          <a:xfrm>
            <a:off x="1404059" y="145840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0920629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DEB038E-F903-90E5-ED1B-12C3A680E0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3520" y="561575"/>
            <a:ext cx="7944959" cy="573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6016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44DC955-AA62-C845-716D-637C5FE0F1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0911" y="475838"/>
            <a:ext cx="7906853" cy="590632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0C9B9EC-F653-0CE0-5F0E-DC89D5F1DB2D}"/>
              </a:ext>
            </a:extLst>
          </p:cNvPr>
          <p:cNvSpPr txBox="1"/>
          <p:nvPr/>
        </p:nvSpPr>
        <p:spPr>
          <a:xfrm>
            <a:off x="1847328" y="558542"/>
            <a:ext cx="2031197" cy="46166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rgbClr val="1A294B"/>
                </a:solidFill>
              </a:rPr>
              <a:t>add-test-flows</a:t>
            </a:r>
            <a:endParaRPr lang="en-DE" sz="2400" b="1" dirty="0">
              <a:solidFill>
                <a:srgbClr val="1A294B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4F1984-C45F-A300-0445-02B61F0B0218}"/>
              </a:ext>
            </a:extLst>
          </p:cNvPr>
          <p:cNvSpPr txBox="1"/>
          <p:nvPr/>
        </p:nvSpPr>
        <p:spPr>
          <a:xfrm>
            <a:off x="2637841" y="1419103"/>
            <a:ext cx="2258054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1A294B"/>
                </a:solidFill>
              </a:rPr>
              <a:t>onos:add-test-flows</a:t>
            </a:r>
            <a:endParaRPr lang="en-DE" sz="2000" dirty="0">
              <a:solidFill>
                <a:srgbClr val="1A294B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6064BE-98CA-88F2-9797-F6DA1858E230}"/>
              </a:ext>
            </a:extLst>
          </p:cNvPr>
          <p:cNvSpPr txBox="1"/>
          <p:nvPr/>
        </p:nvSpPr>
        <p:spPr>
          <a:xfrm>
            <a:off x="2637841" y="2425041"/>
            <a:ext cx="6101478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1A294B"/>
                </a:solidFill>
              </a:rPr>
              <a:t>onos:add-test-flows [options] flowPerDevice numOfRuns</a:t>
            </a:r>
            <a:endParaRPr lang="en-DE" sz="2000" dirty="0">
              <a:solidFill>
                <a:srgbClr val="1A29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6572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67</Words>
  <Application>Microsoft Office PowerPoint</Application>
  <PresentationFormat>Widescreen</PresentationFormat>
  <Paragraphs>172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shal Rajan Vaze</dc:creator>
  <cp:lastModifiedBy>Harshal Vaze</cp:lastModifiedBy>
  <cp:revision>29</cp:revision>
  <dcterms:created xsi:type="dcterms:W3CDTF">2022-07-08T09:27:23Z</dcterms:created>
  <dcterms:modified xsi:type="dcterms:W3CDTF">2022-09-21T13:45:02Z</dcterms:modified>
</cp:coreProperties>
</file>